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2145705502" r:id="rId2"/>
    <p:sldId id="2145705503" r:id="rId3"/>
    <p:sldId id="2145705504" r:id="rId4"/>
    <p:sldId id="2145705507" r:id="rId5"/>
    <p:sldId id="2145705514" r:id="rId6"/>
    <p:sldId id="2145705508" r:id="rId7"/>
    <p:sldId id="2145705510" r:id="rId8"/>
    <p:sldId id="2145705511" r:id="rId9"/>
    <p:sldId id="2145705512" r:id="rId10"/>
    <p:sldId id="2145705513" r:id="rId11"/>
    <p:sldId id="2145705520" r:id="rId12"/>
    <p:sldId id="2145705521" r:id="rId13"/>
    <p:sldId id="2145705551" r:id="rId14"/>
    <p:sldId id="2145705550" r:id="rId15"/>
    <p:sldId id="2145705515" r:id="rId16"/>
    <p:sldId id="2145705548" r:id="rId17"/>
    <p:sldId id="2145705545" r:id="rId18"/>
    <p:sldId id="2145705546" r:id="rId19"/>
    <p:sldId id="2145705547" r:id="rId20"/>
    <p:sldId id="2145705522" r:id="rId21"/>
    <p:sldId id="2145705523" r:id="rId22"/>
    <p:sldId id="2145705524" r:id="rId23"/>
    <p:sldId id="2145705525" r:id="rId24"/>
    <p:sldId id="2145705528" r:id="rId25"/>
    <p:sldId id="2145705526" r:id="rId26"/>
    <p:sldId id="2145705529" r:id="rId27"/>
    <p:sldId id="2145705530" r:id="rId28"/>
    <p:sldId id="2145705531" r:id="rId29"/>
    <p:sldId id="2145705532" r:id="rId30"/>
    <p:sldId id="2145705533" r:id="rId31"/>
    <p:sldId id="2145705534" r:id="rId32"/>
    <p:sldId id="2145705536" r:id="rId33"/>
    <p:sldId id="2145705535" r:id="rId34"/>
    <p:sldId id="2145705537" r:id="rId35"/>
    <p:sldId id="2145705541" r:id="rId36"/>
    <p:sldId id="2145705542" r:id="rId37"/>
    <p:sldId id="2145705543" r:id="rId38"/>
    <p:sldId id="2145705544" r:id="rId39"/>
    <p:sldId id="2145705517" r:id="rId40"/>
  </p:sldIdLst>
  <p:sldSz cx="12192000" cy="6858000"/>
  <p:notesSz cx="7099300" cy="10234613"/>
  <p:custDataLst>
    <p:tags r:id="rId4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54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09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3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817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726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180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635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6E6E6"/>
    <a:srgbClr val="000F7B"/>
    <a:srgbClr val="AAAAAA"/>
    <a:srgbClr val="F9AF1B"/>
    <a:srgbClr val="10A2ED"/>
    <a:srgbClr val="FABB3C"/>
    <a:srgbClr val="A6A6A6"/>
    <a:srgbClr val="0563BB"/>
    <a:srgbClr val="0354B0"/>
    <a:srgbClr val="0049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D6BE0C-839B-D449-98E3-22CFD969AB83}" v="2382" dt="2021-12-09T20:10:49.1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727" autoAdjust="0"/>
    <p:restoredTop sz="83764" autoAdjust="0"/>
  </p:normalViewPr>
  <p:slideViewPr>
    <p:cSldViewPr snapToGrid="0" snapToObjects="1">
      <p:cViewPr varScale="1">
        <p:scale>
          <a:sx n="126" d="100"/>
          <a:sy n="126" d="100"/>
        </p:scale>
        <p:origin x="672" y="1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346" y="108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50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an Chacon Leon" userId="a5ea4cd5-abd8-4ce9-8acf-c5bb0e457165" providerId="ADAL" clId="{94D6BE0C-839B-D449-98E3-22CFD969AB83}"/>
    <pc:docChg chg="undo redo custSel addSld delSld modSld sldOrd">
      <pc:chgData name="Juan Chacon Leon" userId="a5ea4cd5-abd8-4ce9-8acf-c5bb0e457165" providerId="ADAL" clId="{94D6BE0C-839B-D449-98E3-22CFD969AB83}" dt="2021-12-09T20:11:08.261" v="6465" actId="1076"/>
      <pc:docMkLst>
        <pc:docMk/>
      </pc:docMkLst>
      <pc:sldChg chg="addSp delSp modSp mod">
        <pc:chgData name="Juan Chacon Leon" userId="a5ea4cd5-abd8-4ce9-8acf-c5bb0e457165" providerId="ADAL" clId="{94D6BE0C-839B-D449-98E3-22CFD969AB83}" dt="2021-12-09T20:08:28.276" v="6452"/>
        <pc:sldMkLst>
          <pc:docMk/>
          <pc:sldMk cId="3989526113" sldId="2145705502"/>
        </pc:sldMkLst>
        <pc:spChg chg="add del mod">
          <ac:chgData name="Juan Chacon Leon" userId="a5ea4cd5-abd8-4ce9-8acf-c5bb0e457165" providerId="ADAL" clId="{94D6BE0C-839B-D449-98E3-22CFD969AB83}" dt="2021-12-09T20:08:27.789" v="6450"/>
          <ac:spMkLst>
            <pc:docMk/>
            <pc:sldMk cId="3989526113" sldId="2145705502"/>
            <ac:spMk id="2" creationId="{DA72ABCD-11CB-3C4E-BAD9-14B8C40C1967}"/>
          </ac:spMkLst>
        </pc:spChg>
        <pc:spChg chg="add del mod">
          <ac:chgData name="Juan Chacon Leon" userId="a5ea4cd5-abd8-4ce9-8acf-c5bb0e457165" providerId="ADAL" clId="{94D6BE0C-839B-D449-98E3-22CFD969AB83}" dt="2021-12-09T20:08:28.276" v="6452"/>
          <ac:spMkLst>
            <pc:docMk/>
            <pc:sldMk cId="3989526113" sldId="2145705502"/>
            <ac:spMk id="3" creationId="{B0580C5D-8840-8442-9840-CA675F311783}"/>
          </ac:spMkLst>
        </pc:spChg>
        <pc:spChg chg="mod">
          <ac:chgData name="Juan Chacon Leon" userId="a5ea4cd5-abd8-4ce9-8acf-c5bb0e457165" providerId="ADAL" clId="{94D6BE0C-839B-D449-98E3-22CFD969AB83}" dt="2021-12-08T23:56:53.776" v="5811" actId="1076"/>
          <ac:spMkLst>
            <pc:docMk/>
            <pc:sldMk cId="3989526113" sldId="2145705502"/>
            <ac:spMk id="5" creationId="{6C08634D-98C1-F544-AA1B-B72FE9D560A9}"/>
          </ac:spMkLst>
        </pc:spChg>
        <pc:spChg chg="mod">
          <ac:chgData name="Juan Chacon Leon" userId="a5ea4cd5-abd8-4ce9-8acf-c5bb0e457165" providerId="ADAL" clId="{94D6BE0C-839B-D449-98E3-22CFD969AB83}" dt="2021-12-08T23:57:02.749" v="5815" actId="20577"/>
          <ac:spMkLst>
            <pc:docMk/>
            <pc:sldMk cId="3989526113" sldId="2145705502"/>
            <ac:spMk id="6" creationId="{058319BC-96E1-C841-A3B5-926638D90F3A}"/>
          </ac:spMkLst>
        </pc:spChg>
        <pc:spChg chg="add mod">
          <ac:chgData name="Juan Chacon Leon" userId="a5ea4cd5-abd8-4ce9-8acf-c5bb0e457165" providerId="ADAL" clId="{94D6BE0C-839B-D449-98E3-22CFD969AB83}" dt="2021-12-09T20:08:26.686" v="6448" actId="1076"/>
          <ac:spMkLst>
            <pc:docMk/>
            <pc:sldMk cId="3989526113" sldId="2145705502"/>
            <ac:spMk id="12" creationId="{FCF2F5F6-1D8B-7640-9F69-0BD7D6DCD0EF}"/>
          </ac:spMkLst>
        </pc:spChg>
      </pc:sldChg>
      <pc:sldChg chg="addSp delSp modSp mod modNotesTx">
        <pc:chgData name="Juan Chacon Leon" userId="a5ea4cd5-abd8-4ce9-8acf-c5bb0e457165" providerId="ADAL" clId="{94D6BE0C-839B-D449-98E3-22CFD969AB83}" dt="2021-12-09T17:29:52.752" v="6223" actId="1038"/>
        <pc:sldMkLst>
          <pc:docMk/>
          <pc:sldMk cId="4229733104" sldId="2145705503"/>
        </pc:sldMkLst>
        <pc:spChg chg="add del mod">
          <ac:chgData name="Juan Chacon Leon" userId="a5ea4cd5-abd8-4ce9-8acf-c5bb0e457165" providerId="ADAL" clId="{94D6BE0C-839B-D449-98E3-22CFD969AB83}" dt="2021-12-09T17:29:52.752" v="6223" actId="1038"/>
          <ac:spMkLst>
            <pc:docMk/>
            <pc:sldMk cId="4229733104" sldId="2145705503"/>
            <ac:spMk id="2" creationId="{9E25A81E-F854-45E6-904B-2B4CA3E32C6D}"/>
          </ac:spMkLst>
        </pc:spChg>
        <pc:spChg chg="del mod">
          <ac:chgData name="Juan Chacon Leon" userId="a5ea4cd5-abd8-4ce9-8acf-c5bb0e457165" providerId="ADAL" clId="{94D6BE0C-839B-D449-98E3-22CFD969AB83}" dt="2021-12-08T23:58:03.999" v="5836"/>
          <ac:spMkLst>
            <pc:docMk/>
            <pc:sldMk cId="4229733104" sldId="2145705503"/>
            <ac:spMk id="3" creationId="{5BE70A31-3088-034A-B744-7DC69C7F3A5D}"/>
          </ac:spMkLst>
        </pc:spChg>
        <pc:spChg chg="add del mod">
          <ac:chgData name="Juan Chacon Leon" userId="a5ea4cd5-abd8-4ce9-8acf-c5bb0e457165" providerId="ADAL" clId="{94D6BE0C-839B-D449-98E3-22CFD969AB83}" dt="2021-12-09T16:58:32.126" v="5977" actId="767"/>
          <ac:spMkLst>
            <pc:docMk/>
            <pc:sldMk cId="4229733104" sldId="2145705503"/>
            <ac:spMk id="3" creationId="{B62F5910-AA00-9B47-8B1D-9BD784D423AC}"/>
          </ac:spMkLst>
        </pc:spChg>
        <pc:spChg chg="add del mod">
          <ac:chgData name="Juan Chacon Leon" userId="a5ea4cd5-abd8-4ce9-8acf-c5bb0e457165" providerId="ADAL" clId="{94D6BE0C-839B-D449-98E3-22CFD969AB83}" dt="2021-12-08T23:57:41.990" v="5832" actId="478"/>
          <ac:spMkLst>
            <pc:docMk/>
            <pc:sldMk cId="4229733104" sldId="2145705503"/>
            <ac:spMk id="4" creationId="{798B7B62-B5A7-2744-B264-B3D79C325C99}"/>
          </ac:spMkLst>
        </pc:spChg>
        <pc:spChg chg="mod">
          <ac:chgData name="Juan Chacon Leon" userId="a5ea4cd5-abd8-4ce9-8acf-c5bb0e457165" providerId="ADAL" clId="{94D6BE0C-839B-D449-98E3-22CFD969AB83}" dt="2021-12-09T17:28:23.461" v="6217" actId="1076"/>
          <ac:spMkLst>
            <pc:docMk/>
            <pc:sldMk cId="4229733104" sldId="2145705503"/>
            <ac:spMk id="8" creationId="{D21C45E8-3875-BA4E-8291-0882367ECEEC}"/>
          </ac:spMkLst>
        </pc:spChg>
      </pc:sldChg>
      <pc:sldChg chg="addSp delSp modSp mod">
        <pc:chgData name="Juan Chacon Leon" userId="a5ea4cd5-abd8-4ce9-8acf-c5bb0e457165" providerId="ADAL" clId="{94D6BE0C-839B-D449-98E3-22CFD969AB83}" dt="2021-12-09T16:59:05.510" v="5996" actId="1076"/>
        <pc:sldMkLst>
          <pc:docMk/>
          <pc:sldMk cId="1428748760" sldId="2145705504"/>
        </pc:sldMkLst>
        <pc:spChg chg="mod">
          <ac:chgData name="Juan Chacon Leon" userId="a5ea4cd5-abd8-4ce9-8acf-c5bb0e457165" providerId="ADAL" clId="{94D6BE0C-839B-D449-98E3-22CFD969AB83}" dt="2021-12-09T16:59:05.510" v="5996" actId="1076"/>
          <ac:spMkLst>
            <pc:docMk/>
            <pc:sldMk cId="1428748760" sldId="2145705504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1-30T19:20:23.476" v="4"/>
          <ac:spMkLst>
            <pc:docMk/>
            <pc:sldMk cId="1428748760" sldId="2145705504"/>
            <ac:spMk id="3" creationId="{B00CCF29-6339-A541-B86C-538B7480B1D7}"/>
          </ac:spMkLst>
        </pc:spChg>
        <pc:spChg chg="add mod">
          <ac:chgData name="Juan Chacon Leon" userId="a5ea4cd5-abd8-4ce9-8acf-c5bb0e457165" providerId="ADAL" clId="{94D6BE0C-839B-D449-98E3-22CFD969AB83}" dt="2021-11-30T23:19:59.177" v="40" actId="478"/>
          <ac:spMkLst>
            <pc:docMk/>
            <pc:sldMk cId="1428748760" sldId="2145705504"/>
            <ac:spMk id="6" creationId="{79EB093E-0FE1-314F-BD57-41170B47755E}"/>
          </ac:spMkLst>
        </pc:spChg>
        <pc:spChg chg="add mod">
          <ac:chgData name="Juan Chacon Leon" userId="a5ea4cd5-abd8-4ce9-8acf-c5bb0e457165" providerId="ADAL" clId="{94D6BE0C-839B-D449-98E3-22CFD969AB83}" dt="2021-12-01T00:31:45.243" v="42" actId="767"/>
          <ac:spMkLst>
            <pc:docMk/>
            <pc:sldMk cId="1428748760" sldId="2145705504"/>
            <ac:spMk id="7" creationId="{CB319EE0-CFC0-0549-9D7B-26E97507CC9C}"/>
          </ac:spMkLst>
        </pc:spChg>
        <pc:picChg chg="add del mod">
          <ac:chgData name="Juan Chacon Leon" userId="a5ea4cd5-abd8-4ce9-8acf-c5bb0e457165" providerId="ADAL" clId="{94D6BE0C-839B-D449-98E3-22CFD969AB83}" dt="2021-11-30T23:19:59.177" v="40" actId="478"/>
          <ac:picMkLst>
            <pc:docMk/>
            <pc:sldMk cId="1428748760" sldId="2145705504"/>
            <ac:picMk id="5122" creationId="{A7C6EBAD-543D-B747-9938-C19B20F0D12A}"/>
          </ac:picMkLst>
        </pc:picChg>
        <pc:picChg chg="add del mod">
          <ac:chgData name="Juan Chacon Leon" userId="a5ea4cd5-abd8-4ce9-8acf-c5bb0e457165" providerId="ADAL" clId="{94D6BE0C-839B-D449-98E3-22CFD969AB83}" dt="2021-11-30T19:28:54.696" v="24" actId="478"/>
          <ac:picMkLst>
            <pc:docMk/>
            <pc:sldMk cId="1428748760" sldId="2145705504"/>
            <ac:picMk id="5124" creationId="{3CCBE1CD-C0C0-3C49-80E7-6CA150D35FC4}"/>
          </ac:picMkLst>
        </pc:picChg>
        <pc:picChg chg="add mod">
          <ac:chgData name="Juan Chacon Leon" userId="a5ea4cd5-abd8-4ce9-8acf-c5bb0e457165" providerId="ADAL" clId="{94D6BE0C-839B-D449-98E3-22CFD969AB83}" dt="2021-12-01T00:39:39.510" v="69" actId="1035"/>
          <ac:picMkLst>
            <pc:docMk/>
            <pc:sldMk cId="1428748760" sldId="2145705504"/>
            <ac:picMk id="5126" creationId="{287C27EA-5C22-1343-AE05-F5508642921A}"/>
          </ac:picMkLst>
        </pc:picChg>
      </pc:sldChg>
      <pc:sldChg chg="addSp delSp modSp add">
        <pc:chgData name="Juan Chacon Leon" userId="a5ea4cd5-abd8-4ce9-8acf-c5bb0e457165" providerId="ADAL" clId="{94D6BE0C-839B-D449-98E3-22CFD969AB83}" dt="2021-11-30T23:15:38.171" v="39" actId="14100"/>
        <pc:sldMkLst>
          <pc:docMk/>
          <pc:sldMk cId="385731739" sldId="2145705505"/>
        </pc:sldMkLst>
        <pc:picChg chg="mod">
          <ac:chgData name="Juan Chacon Leon" userId="a5ea4cd5-abd8-4ce9-8acf-c5bb0e457165" providerId="ADAL" clId="{94D6BE0C-839B-D449-98E3-22CFD969AB83}" dt="2021-11-30T19:29:17.127" v="28" actId="14100"/>
          <ac:picMkLst>
            <pc:docMk/>
            <pc:sldMk cId="385731739" sldId="2145705505"/>
            <ac:picMk id="5122" creationId="{A7C6EBAD-543D-B747-9938-C19B20F0D12A}"/>
          </ac:picMkLst>
        </pc:picChg>
        <pc:picChg chg="mod">
          <ac:chgData name="Juan Chacon Leon" userId="a5ea4cd5-abd8-4ce9-8acf-c5bb0e457165" providerId="ADAL" clId="{94D6BE0C-839B-D449-98E3-22CFD969AB83}" dt="2021-11-30T23:15:38.171" v="39" actId="14100"/>
          <ac:picMkLst>
            <pc:docMk/>
            <pc:sldMk cId="385731739" sldId="2145705505"/>
            <ac:picMk id="5124" creationId="{3CCBE1CD-C0C0-3C49-80E7-6CA150D35FC4}"/>
          </ac:picMkLst>
        </pc:picChg>
        <pc:picChg chg="add del mod">
          <ac:chgData name="Juan Chacon Leon" userId="a5ea4cd5-abd8-4ce9-8acf-c5bb0e457165" providerId="ADAL" clId="{94D6BE0C-839B-D449-98E3-22CFD969AB83}" dt="2021-11-30T20:13:53.498" v="34" actId="21"/>
          <ac:picMkLst>
            <pc:docMk/>
            <pc:sldMk cId="385731739" sldId="2145705505"/>
            <ac:picMk id="6146" creationId="{87147808-4267-AF4B-80B8-E28A941FA496}"/>
          </ac:picMkLst>
        </pc:picChg>
        <pc:picChg chg="add del">
          <ac:chgData name="Juan Chacon Leon" userId="a5ea4cd5-abd8-4ce9-8acf-c5bb0e457165" providerId="ADAL" clId="{94D6BE0C-839B-D449-98E3-22CFD969AB83}" dt="2021-11-30T20:15:08.799" v="36" actId="21"/>
          <ac:picMkLst>
            <pc:docMk/>
            <pc:sldMk cId="385731739" sldId="2145705505"/>
            <ac:picMk id="6148" creationId="{7D649DF5-2C42-064F-A337-74B7F87D03D4}"/>
          </ac:picMkLst>
        </pc:picChg>
      </pc:sldChg>
      <pc:sldChg chg="modSp">
        <pc:chgData name="Juan Chacon Leon" userId="a5ea4cd5-abd8-4ce9-8acf-c5bb0e457165" providerId="ADAL" clId="{94D6BE0C-839B-D449-98E3-22CFD969AB83}" dt="2021-12-01T00:38:58.873" v="53" actId="14100"/>
        <pc:sldMkLst>
          <pc:docMk/>
          <pc:sldMk cId="1173409998" sldId="2145705506"/>
        </pc:sldMkLst>
        <pc:picChg chg="mod">
          <ac:chgData name="Juan Chacon Leon" userId="a5ea4cd5-abd8-4ce9-8acf-c5bb0e457165" providerId="ADAL" clId="{94D6BE0C-839B-D449-98E3-22CFD969AB83}" dt="2021-12-01T00:38:58.873" v="53" actId="14100"/>
          <ac:picMkLst>
            <pc:docMk/>
            <pc:sldMk cId="1173409998" sldId="2145705506"/>
            <ac:picMk id="5126" creationId="{287C27EA-5C22-1343-AE05-F5508642921A}"/>
          </ac:picMkLst>
        </pc:picChg>
      </pc:sldChg>
      <pc:sldChg chg="add">
        <pc:chgData name="Juan Chacon Leon" userId="a5ea4cd5-abd8-4ce9-8acf-c5bb0e457165" providerId="ADAL" clId="{94D6BE0C-839B-D449-98E3-22CFD969AB83}" dt="2021-11-30T19:29:30.788" v="31"/>
        <pc:sldMkLst>
          <pc:docMk/>
          <pc:sldMk cId="3009582440" sldId="2145705506"/>
        </pc:sldMkLst>
      </pc:sldChg>
      <pc:sldChg chg="addSp delSp modSp mod">
        <pc:chgData name="Juan Chacon Leon" userId="a5ea4cd5-abd8-4ce9-8acf-c5bb0e457165" providerId="ADAL" clId="{94D6BE0C-839B-D449-98E3-22CFD969AB83}" dt="2021-12-09T16:59:14.655" v="5999" actId="478"/>
        <pc:sldMkLst>
          <pc:docMk/>
          <pc:sldMk cId="2309161033" sldId="2145705507"/>
        </pc:sldMkLst>
        <pc:spChg chg="add del mod">
          <ac:chgData name="Juan Chacon Leon" userId="a5ea4cd5-abd8-4ce9-8acf-c5bb0e457165" providerId="ADAL" clId="{94D6BE0C-839B-D449-98E3-22CFD969AB83}" dt="2021-12-09T16:59:11.528" v="5997" actId="478"/>
          <ac:spMkLst>
            <pc:docMk/>
            <pc:sldMk cId="2309161033" sldId="2145705507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7:54.428" v="5937" actId="478"/>
          <ac:spMkLst>
            <pc:docMk/>
            <pc:sldMk cId="2309161033" sldId="2145705507"/>
            <ac:spMk id="3" creationId="{A9710E65-20FE-DA4F-B9DD-9CB6CA826ED1}"/>
          </ac:spMkLst>
        </pc:spChg>
        <pc:spChg chg="add del mod">
          <ac:chgData name="Juan Chacon Leon" userId="a5ea4cd5-abd8-4ce9-8acf-c5bb0e457165" providerId="ADAL" clId="{94D6BE0C-839B-D449-98E3-22CFD969AB83}" dt="2021-12-09T16:58:54.004" v="5986" actId="478"/>
          <ac:spMkLst>
            <pc:docMk/>
            <pc:sldMk cId="2309161033" sldId="2145705507"/>
            <ac:spMk id="4" creationId="{4079656F-4A4D-534B-A5A6-56CC98C6AFD7}"/>
          </ac:spMkLst>
        </pc:spChg>
        <pc:spChg chg="add del mod">
          <ac:chgData name="Juan Chacon Leon" userId="a5ea4cd5-abd8-4ce9-8acf-c5bb0e457165" providerId="ADAL" clId="{94D6BE0C-839B-D449-98E3-22CFD969AB83}" dt="2021-12-09T16:59:14.655" v="5999" actId="478"/>
          <ac:spMkLst>
            <pc:docMk/>
            <pc:sldMk cId="2309161033" sldId="2145705507"/>
            <ac:spMk id="5" creationId="{064506FA-002F-1149-BA61-49B12B5EAC25}"/>
          </ac:spMkLst>
        </pc:spChg>
        <pc:spChg chg="add del mod">
          <ac:chgData name="Juan Chacon Leon" userId="a5ea4cd5-abd8-4ce9-8acf-c5bb0e457165" providerId="ADAL" clId="{94D6BE0C-839B-D449-98E3-22CFD969AB83}" dt="2021-12-09T16:57:54.362" v="5936"/>
          <ac:spMkLst>
            <pc:docMk/>
            <pc:sldMk cId="2309161033" sldId="2145705507"/>
            <ac:spMk id="8" creationId="{62EA8DA1-A120-D647-8834-4BDD53F82431}"/>
          </ac:spMkLst>
        </pc:spChg>
        <pc:spChg chg="add del mod">
          <ac:chgData name="Juan Chacon Leon" userId="a5ea4cd5-abd8-4ce9-8acf-c5bb0e457165" providerId="ADAL" clId="{94D6BE0C-839B-D449-98E3-22CFD969AB83}" dt="2021-12-09T16:58:52.530" v="5984"/>
          <ac:spMkLst>
            <pc:docMk/>
            <pc:sldMk cId="2309161033" sldId="2145705507"/>
            <ac:spMk id="9" creationId="{E5AC2CDC-3800-9F48-B01F-13D7BD008990}"/>
          </ac:spMkLst>
        </pc:spChg>
        <pc:spChg chg="add mod">
          <ac:chgData name="Juan Chacon Leon" userId="a5ea4cd5-abd8-4ce9-8acf-c5bb0e457165" providerId="ADAL" clId="{94D6BE0C-839B-D449-98E3-22CFD969AB83}" dt="2021-12-09T16:59:12.697" v="5998"/>
          <ac:spMkLst>
            <pc:docMk/>
            <pc:sldMk cId="2309161033" sldId="2145705507"/>
            <ac:spMk id="11" creationId="{C66CBDCD-DBC9-EB40-A152-2C96EF69E76A}"/>
          </ac:spMkLst>
        </pc:spChg>
        <pc:picChg chg="mod">
          <ac:chgData name="Juan Chacon Leon" userId="a5ea4cd5-abd8-4ce9-8acf-c5bb0e457165" providerId="ADAL" clId="{94D6BE0C-839B-D449-98E3-22CFD969AB83}" dt="2021-12-01T00:41:26.689" v="83" actId="1076"/>
          <ac:picMkLst>
            <pc:docMk/>
            <pc:sldMk cId="2309161033" sldId="2145705507"/>
            <ac:picMk id="5126" creationId="{287C27EA-5C22-1343-AE05-F5508642921A}"/>
          </ac:picMkLst>
        </pc:picChg>
        <pc:picChg chg="add del">
          <ac:chgData name="Juan Chacon Leon" userId="a5ea4cd5-abd8-4ce9-8acf-c5bb0e457165" providerId="ADAL" clId="{94D6BE0C-839B-D449-98E3-22CFD969AB83}" dt="2021-12-01T00:40:40.668" v="74"/>
          <ac:picMkLst>
            <pc:docMk/>
            <pc:sldMk cId="2309161033" sldId="2145705507"/>
            <ac:picMk id="10242" creationId="{D58D1E61-8A1E-7F45-97E3-A85B527C5EF1}"/>
          </ac:picMkLst>
        </pc:picChg>
        <pc:picChg chg="add del">
          <ac:chgData name="Juan Chacon Leon" userId="a5ea4cd5-abd8-4ce9-8acf-c5bb0e457165" providerId="ADAL" clId="{94D6BE0C-839B-D449-98E3-22CFD969AB83}" dt="2021-12-01T00:40:48.877" v="76"/>
          <ac:picMkLst>
            <pc:docMk/>
            <pc:sldMk cId="2309161033" sldId="2145705507"/>
            <ac:picMk id="10244" creationId="{9C6326E3-7A35-1A4C-8568-63CC9651EAC7}"/>
          </ac:picMkLst>
        </pc:picChg>
        <pc:picChg chg="add del mod">
          <ac:chgData name="Juan Chacon Leon" userId="a5ea4cd5-abd8-4ce9-8acf-c5bb0e457165" providerId="ADAL" clId="{94D6BE0C-839B-D449-98E3-22CFD969AB83}" dt="2021-12-01T01:07:42.897" v="336" actId="478"/>
          <ac:picMkLst>
            <pc:docMk/>
            <pc:sldMk cId="2309161033" sldId="2145705507"/>
            <ac:picMk id="10246" creationId="{C45D1EC3-66BA-3648-8721-35C5E2EBD25D}"/>
          </ac:picMkLst>
        </pc:picChg>
        <pc:picChg chg="add del mod">
          <ac:chgData name="Juan Chacon Leon" userId="a5ea4cd5-abd8-4ce9-8acf-c5bb0e457165" providerId="ADAL" clId="{94D6BE0C-839B-D449-98E3-22CFD969AB83}" dt="2021-12-01T01:01:43.945" v="293" actId="478"/>
          <ac:picMkLst>
            <pc:docMk/>
            <pc:sldMk cId="2309161033" sldId="2145705507"/>
            <ac:picMk id="10248" creationId="{1C62344F-A593-0548-A2F3-B7E953229F56}"/>
          </ac:picMkLst>
        </pc:picChg>
        <pc:picChg chg="add del mod">
          <ac:chgData name="Juan Chacon Leon" userId="a5ea4cd5-abd8-4ce9-8acf-c5bb0e457165" providerId="ADAL" clId="{94D6BE0C-839B-D449-98E3-22CFD969AB83}" dt="2021-12-01T01:08:24.286" v="339" actId="478"/>
          <ac:picMkLst>
            <pc:docMk/>
            <pc:sldMk cId="2309161033" sldId="2145705507"/>
            <ac:picMk id="10250" creationId="{4B65CD9E-7F48-BC4F-A85E-616E4DDEB87D}"/>
          </ac:picMkLst>
        </pc:picChg>
        <pc:picChg chg="add mod">
          <ac:chgData name="Juan Chacon Leon" userId="a5ea4cd5-abd8-4ce9-8acf-c5bb0e457165" providerId="ADAL" clId="{94D6BE0C-839B-D449-98E3-22CFD969AB83}" dt="2021-12-01T18:59:55.089" v="343" actId="1037"/>
          <ac:picMkLst>
            <pc:docMk/>
            <pc:sldMk cId="2309161033" sldId="2145705507"/>
            <ac:picMk id="10252" creationId="{E301621C-2F57-FE4D-AA24-1F8BB8EDF1F9}"/>
          </ac:picMkLst>
        </pc:picChg>
      </pc:sldChg>
      <pc:sldChg chg="addSp delSp modSp mod">
        <pc:chgData name="Juan Chacon Leon" userId="a5ea4cd5-abd8-4ce9-8acf-c5bb0e457165" providerId="ADAL" clId="{94D6BE0C-839B-D449-98E3-22CFD969AB83}" dt="2021-12-09T16:59:29.303" v="6005"/>
        <pc:sldMkLst>
          <pc:docMk/>
          <pc:sldMk cId="1028362803" sldId="2145705508"/>
        </pc:sldMkLst>
        <pc:spChg chg="del mod">
          <ac:chgData name="Juan Chacon Leon" userId="a5ea4cd5-abd8-4ce9-8acf-c5bb0e457165" providerId="ADAL" clId="{94D6BE0C-839B-D449-98E3-22CFD969AB83}" dt="2021-12-09T16:59:26.454" v="6003" actId="478"/>
          <ac:spMkLst>
            <pc:docMk/>
            <pc:sldMk cId="1028362803" sldId="2145705508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28.865" v="6004" actId="478"/>
          <ac:spMkLst>
            <pc:docMk/>
            <pc:sldMk cId="1028362803" sldId="2145705508"/>
            <ac:spMk id="3" creationId="{8ED08E98-BD91-6748-A1B3-FF94DE9742EC}"/>
          </ac:spMkLst>
        </pc:spChg>
        <pc:spChg chg="add mod">
          <ac:chgData name="Juan Chacon Leon" userId="a5ea4cd5-abd8-4ce9-8acf-c5bb0e457165" providerId="ADAL" clId="{94D6BE0C-839B-D449-98E3-22CFD969AB83}" dt="2021-12-09T16:59:29.303" v="6005"/>
          <ac:spMkLst>
            <pc:docMk/>
            <pc:sldMk cId="1028362803" sldId="2145705508"/>
            <ac:spMk id="8" creationId="{CF7B1520-DF2C-2542-AFE0-3F1AEB8D6182}"/>
          </ac:spMkLst>
        </pc:spChg>
        <pc:picChg chg="del">
          <ac:chgData name="Juan Chacon Leon" userId="a5ea4cd5-abd8-4ce9-8acf-c5bb0e457165" providerId="ADAL" clId="{94D6BE0C-839B-D449-98E3-22CFD969AB83}" dt="2021-12-01T00:43:58.125" v="90" actId="478"/>
          <ac:picMkLst>
            <pc:docMk/>
            <pc:sldMk cId="1028362803" sldId="2145705508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3:58.125" v="90" actId="478"/>
          <ac:picMkLst>
            <pc:docMk/>
            <pc:sldMk cId="1028362803" sldId="2145705508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9T00:03:35.823" v="5860" actId="1035"/>
          <ac:picMkLst>
            <pc:docMk/>
            <pc:sldMk cId="1028362803" sldId="2145705508"/>
            <ac:picMk id="12290" creationId="{7C48CD65-3D15-7F47-88FC-CA0E533114A2}"/>
          </ac:picMkLst>
        </pc:picChg>
        <pc:picChg chg="add mod">
          <ac:chgData name="Juan Chacon Leon" userId="a5ea4cd5-abd8-4ce9-8acf-c5bb0e457165" providerId="ADAL" clId="{94D6BE0C-839B-D449-98E3-22CFD969AB83}" dt="2021-12-01T00:58:00.409" v="292" actId="1035"/>
          <ac:picMkLst>
            <pc:docMk/>
            <pc:sldMk cId="1028362803" sldId="2145705508"/>
            <ac:picMk id="12292" creationId="{363DF8BE-6541-D44B-959F-B803B3618859}"/>
          </ac:picMkLst>
        </pc:picChg>
      </pc:sldChg>
      <pc:sldChg chg="modSp add">
        <pc:chgData name="Juan Chacon Leon" userId="a5ea4cd5-abd8-4ce9-8acf-c5bb0e457165" providerId="ADAL" clId="{94D6BE0C-839B-D449-98E3-22CFD969AB83}" dt="2021-12-01T00:52:44.768" v="184" actId="14100"/>
        <pc:sldMkLst>
          <pc:docMk/>
          <pc:sldMk cId="134243764" sldId="2145705509"/>
        </pc:sldMkLst>
        <pc:picChg chg="mod">
          <ac:chgData name="Juan Chacon Leon" userId="a5ea4cd5-abd8-4ce9-8acf-c5bb0e457165" providerId="ADAL" clId="{94D6BE0C-839B-D449-98E3-22CFD969AB83}" dt="2021-12-01T00:52:44.768" v="184" actId="14100"/>
          <ac:picMkLst>
            <pc:docMk/>
            <pc:sldMk cId="134243764" sldId="2145705509"/>
            <ac:picMk id="10246" creationId="{C45D1EC3-66BA-3648-8721-35C5E2EBD25D}"/>
          </ac:picMkLst>
        </pc:picChg>
        <pc:picChg chg="mod">
          <ac:chgData name="Juan Chacon Leon" userId="a5ea4cd5-abd8-4ce9-8acf-c5bb0e457165" providerId="ADAL" clId="{94D6BE0C-839B-D449-98E3-22CFD969AB83}" dt="2021-12-01T00:52:44.768" v="184" actId="14100"/>
          <ac:picMkLst>
            <pc:docMk/>
            <pc:sldMk cId="134243764" sldId="2145705509"/>
            <ac:picMk id="10248" creationId="{1C62344F-A593-0548-A2F3-B7E953229F56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6:59:39.258" v="6008"/>
        <pc:sldMkLst>
          <pc:docMk/>
          <pc:sldMk cId="4010638956" sldId="2145705510"/>
        </pc:sldMkLst>
        <pc:spChg chg="del mod">
          <ac:chgData name="Juan Chacon Leon" userId="a5ea4cd5-abd8-4ce9-8acf-c5bb0e457165" providerId="ADAL" clId="{94D6BE0C-839B-D449-98E3-22CFD969AB83}" dt="2021-12-09T16:59:36.286" v="6006" actId="478"/>
          <ac:spMkLst>
            <pc:docMk/>
            <pc:sldMk cId="4010638956" sldId="2145705510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37.950" v="6007" actId="478"/>
          <ac:spMkLst>
            <pc:docMk/>
            <pc:sldMk cId="4010638956" sldId="2145705510"/>
            <ac:spMk id="3" creationId="{A2AD8AFC-D725-B049-86A0-703BBAB1FDF0}"/>
          </ac:spMkLst>
        </pc:spChg>
        <pc:spChg chg="add mod">
          <ac:chgData name="Juan Chacon Leon" userId="a5ea4cd5-abd8-4ce9-8acf-c5bb0e457165" providerId="ADAL" clId="{94D6BE0C-839B-D449-98E3-22CFD969AB83}" dt="2021-12-09T16:59:39.258" v="6008"/>
          <ac:spMkLst>
            <pc:docMk/>
            <pc:sldMk cId="4010638956" sldId="2145705510"/>
            <ac:spMk id="8" creationId="{0905C689-2479-F84B-867A-29BF72F3150C}"/>
          </ac:spMkLst>
        </pc:spChg>
        <pc:picChg chg="del">
          <ac:chgData name="Juan Chacon Leon" userId="a5ea4cd5-abd8-4ce9-8acf-c5bb0e457165" providerId="ADAL" clId="{94D6BE0C-839B-D449-98E3-22CFD969AB83}" dt="2021-12-01T00:44:46.197" v="94" actId="478"/>
          <ac:picMkLst>
            <pc:docMk/>
            <pc:sldMk cId="4010638956" sldId="2145705510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4:46.197" v="94" actId="478"/>
          <ac:picMkLst>
            <pc:docMk/>
            <pc:sldMk cId="4010638956" sldId="2145705510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9T00:03:43.240" v="5861" actId="1035"/>
          <ac:picMkLst>
            <pc:docMk/>
            <pc:sldMk cId="4010638956" sldId="2145705510"/>
            <ac:picMk id="13314" creationId="{7AF502DC-7347-D74D-A9D1-2E5708387CA3}"/>
          </ac:picMkLst>
        </pc:picChg>
        <pc:picChg chg="add mod">
          <ac:chgData name="Juan Chacon Leon" userId="a5ea4cd5-abd8-4ce9-8acf-c5bb0e457165" providerId="ADAL" clId="{94D6BE0C-839B-D449-98E3-22CFD969AB83}" dt="2021-12-01T00:57:09.860" v="288" actId="1076"/>
          <ac:picMkLst>
            <pc:docMk/>
            <pc:sldMk cId="4010638956" sldId="2145705510"/>
            <ac:picMk id="13316" creationId="{3D5AA184-4121-9445-8209-867DD3F0B2E6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6:59:48.041" v="6011"/>
        <pc:sldMkLst>
          <pc:docMk/>
          <pc:sldMk cId="138560567" sldId="2145705511"/>
        </pc:sldMkLst>
        <pc:spChg chg="del mod">
          <ac:chgData name="Juan Chacon Leon" userId="a5ea4cd5-abd8-4ce9-8acf-c5bb0e457165" providerId="ADAL" clId="{94D6BE0C-839B-D449-98E3-22CFD969AB83}" dt="2021-12-09T16:59:43.367" v="6009" actId="478"/>
          <ac:spMkLst>
            <pc:docMk/>
            <pc:sldMk cId="138560567" sldId="2145705511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46.886" v="6010" actId="478"/>
          <ac:spMkLst>
            <pc:docMk/>
            <pc:sldMk cId="138560567" sldId="2145705511"/>
            <ac:spMk id="3" creationId="{2B28DC3A-7D2E-034C-9CC3-C37072773BE5}"/>
          </ac:spMkLst>
        </pc:spChg>
        <pc:spChg chg="add mod">
          <ac:chgData name="Juan Chacon Leon" userId="a5ea4cd5-abd8-4ce9-8acf-c5bb0e457165" providerId="ADAL" clId="{94D6BE0C-839B-D449-98E3-22CFD969AB83}" dt="2021-12-09T16:59:48.041" v="6011"/>
          <ac:spMkLst>
            <pc:docMk/>
            <pc:sldMk cId="138560567" sldId="2145705511"/>
            <ac:spMk id="8" creationId="{72844225-44AB-4E45-80D2-D705BEF9CEDF}"/>
          </ac:spMkLst>
        </pc:spChg>
        <pc:picChg chg="del">
          <ac:chgData name="Juan Chacon Leon" userId="a5ea4cd5-abd8-4ce9-8acf-c5bb0e457165" providerId="ADAL" clId="{94D6BE0C-839B-D449-98E3-22CFD969AB83}" dt="2021-12-01T00:45:39.413" v="99" actId="478"/>
          <ac:picMkLst>
            <pc:docMk/>
            <pc:sldMk cId="138560567" sldId="2145705511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5:39.413" v="99" actId="478"/>
          <ac:picMkLst>
            <pc:docMk/>
            <pc:sldMk cId="138560567" sldId="2145705511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1T01:05:44.982" v="328" actId="1038"/>
          <ac:picMkLst>
            <pc:docMk/>
            <pc:sldMk cId="138560567" sldId="2145705511"/>
            <ac:picMk id="14338" creationId="{E17E2193-7BBB-AA4F-901C-AE699BCDBCE6}"/>
          </ac:picMkLst>
        </pc:picChg>
        <pc:picChg chg="add mod">
          <ac:chgData name="Juan Chacon Leon" userId="a5ea4cd5-abd8-4ce9-8acf-c5bb0e457165" providerId="ADAL" clId="{94D6BE0C-839B-D449-98E3-22CFD969AB83}" dt="2021-12-01T00:57:02.870" v="287" actId="1076"/>
          <ac:picMkLst>
            <pc:docMk/>
            <pc:sldMk cId="138560567" sldId="2145705511"/>
            <ac:picMk id="14340" creationId="{0AF0D526-D1F3-384D-9BC1-3AEB111D7D36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6:59:56.777" v="6014"/>
        <pc:sldMkLst>
          <pc:docMk/>
          <pc:sldMk cId="2035910279" sldId="2145705512"/>
        </pc:sldMkLst>
        <pc:spChg chg="del mod">
          <ac:chgData name="Juan Chacon Leon" userId="a5ea4cd5-abd8-4ce9-8acf-c5bb0e457165" providerId="ADAL" clId="{94D6BE0C-839B-D449-98E3-22CFD969AB83}" dt="2021-12-09T16:59:53.999" v="6012" actId="478"/>
          <ac:spMkLst>
            <pc:docMk/>
            <pc:sldMk cId="2035910279" sldId="2145705512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56.327" v="6013" actId="478"/>
          <ac:spMkLst>
            <pc:docMk/>
            <pc:sldMk cId="2035910279" sldId="2145705512"/>
            <ac:spMk id="3" creationId="{315A22C5-8D8E-D349-A43A-39BEA3589BEC}"/>
          </ac:spMkLst>
        </pc:spChg>
        <pc:spChg chg="add mod">
          <ac:chgData name="Juan Chacon Leon" userId="a5ea4cd5-abd8-4ce9-8acf-c5bb0e457165" providerId="ADAL" clId="{94D6BE0C-839B-D449-98E3-22CFD969AB83}" dt="2021-12-09T16:59:56.777" v="6014"/>
          <ac:spMkLst>
            <pc:docMk/>
            <pc:sldMk cId="2035910279" sldId="2145705512"/>
            <ac:spMk id="8" creationId="{8E556AC7-7855-2A49-827B-09750FFB1762}"/>
          </ac:spMkLst>
        </pc:spChg>
        <pc:picChg chg="del">
          <ac:chgData name="Juan Chacon Leon" userId="a5ea4cd5-abd8-4ce9-8acf-c5bb0e457165" providerId="ADAL" clId="{94D6BE0C-839B-D449-98E3-22CFD969AB83}" dt="2021-12-01T00:46:21.854" v="105" actId="478"/>
          <ac:picMkLst>
            <pc:docMk/>
            <pc:sldMk cId="2035910279" sldId="2145705512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6:21.854" v="105" actId="478"/>
          <ac:picMkLst>
            <pc:docMk/>
            <pc:sldMk cId="2035910279" sldId="2145705512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9T00:04:09.204" v="5862" actId="1035"/>
          <ac:picMkLst>
            <pc:docMk/>
            <pc:sldMk cId="2035910279" sldId="2145705512"/>
            <ac:picMk id="15362" creationId="{E262AA57-12C2-6C43-B7B9-C64D5846368C}"/>
          </ac:picMkLst>
        </pc:picChg>
        <pc:picChg chg="add mod">
          <ac:chgData name="Juan Chacon Leon" userId="a5ea4cd5-abd8-4ce9-8acf-c5bb0e457165" providerId="ADAL" clId="{94D6BE0C-839B-D449-98E3-22CFD969AB83}" dt="2021-12-01T00:55:13.972" v="262" actId="1035"/>
          <ac:picMkLst>
            <pc:docMk/>
            <pc:sldMk cId="2035910279" sldId="2145705512"/>
            <ac:picMk id="15364" creationId="{A438A054-39CF-7541-94A6-8E840D00A125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7:00:04.638" v="6017"/>
        <pc:sldMkLst>
          <pc:docMk/>
          <pc:sldMk cId="1428443662" sldId="2145705513"/>
        </pc:sldMkLst>
        <pc:spChg chg="del mod">
          <ac:chgData name="Juan Chacon Leon" userId="a5ea4cd5-abd8-4ce9-8acf-c5bb0e457165" providerId="ADAL" clId="{94D6BE0C-839B-D449-98E3-22CFD969AB83}" dt="2021-12-09T17:00:01.359" v="6015" actId="478"/>
          <ac:spMkLst>
            <pc:docMk/>
            <pc:sldMk cId="1428443662" sldId="2145705513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0:03.465" v="6016" actId="478"/>
          <ac:spMkLst>
            <pc:docMk/>
            <pc:sldMk cId="1428443662" sldId="2145705513"/>
            <ac:spMk id="3" creationId="{8DEDE33E-E23B-1041-9F2A-AE20E21C24EC}"/>
          </ac:spMkLst>
        </pc:spChg>
        <pc:spChg chg="add del mod">
          <ac:chgData name="Juan Chacon Leon" userId="a5ea4cd5-abd8-4ce9-8acf-c5bb0e457165" providerId="ADAL" clId="{94D6BE0C-839B-D449-98E3-22CFD969AB83}" dt="2021-12-01T00:51:26.658" v="175"/>
          <ac:spMkLst>
            <pc:docMk/>
            <pc:sldMk cId="1428443662" sldId="2145705513"/>
            <ac:spMk id="3" creationId="{EB1AB7F7-C014-3142-83D5-79DAC60820CC}"/>
          </ac:spMkLst>
        </pc:spChg>
        <pc:spChg chg="add mod">
          <ac:chgData name="Juan Chacon Leon" userId="a5ea4cd5-abd8-4ce9-8acf-c5bb0e457165" providerId="ADAL" clId="{94D6BE0C-839B-D449-98E3-22CFD969AB83}" dt="2021-12-09T00:07:33.106" v="5880" actId="1076"/>
          <ac:spMkLst>
            <pc:docMk/>
            <pc:sldMk cId="1428443662" sldId="2145705513"/>
            <ac:spMk id="4" creationId="{40B99802-ACE3-EE44-AF1B-9006FAE42AC5}"/>
          </ac:spMkLst>
        </pc:spChg>
        <pc:spChg chg="add mod">
          <ac:chgData name="Juan Chacon Leon" userId="a5ea4cd5-abd8-4ce9-8acf-c5bb0e457165" providerId="ADAL" clId="{94D6BE0C-839B-D449-98E3-22CFD969AB83}" dt="2021-12-09T17:00:04.638" v="6017"/>
          <ac:spMkLst>
            <pc:docMk/>
            <pc:sldMk cId="1428443662" sldId="2145705513"/>
            <ac:spMk id="9" creationId="{892D29BE-BB20-B54F-889E-3395EF13E7EA}"/>
          </ac:spMkLst>
        </pc:spChg>
        <pc:picChg chg="add mod">
          <ac:chgData name="Juan Chacon Leon" userId="a5ea4cd5-abd8-4ce9-8acf-c5bb0e457165" providerId="ADAL" clId="{94D6BE0C-839B-D449-98E3-22CFD969AB83}" dt="2021-12-01T00:51:04.758" v="154" actId="1037"/>
          <ac:picMkLst>
            <pc:docMk/>
            <pc:sldMk cId="1428443662" sldId="2145705513"/>
            <ac:picMk id="8" creationId="{34558ACA-65E9-384A-A038-1F4A75941F02}"/>
          </ac:picMkLst>
        </pc:picChg>
        <pc:picChg chg="del">
          <ac:chgData name="Juan Chacon Leon" userId="a5ea4cd5-abd8-4ce9-8acf-c5bb0e457165" providerId="ADAL" clId="{94D6BE0C-839B-D449-98E3-22CFD969AB83}" dt="2021-12-01T00:48:41.057" v="111" actId="478"/>
          <ac:picMkLst>
            <pc:docMk/>
            <pc:sldMk cId="1428443662" sldId="2145705513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8:57.977" v="113" actId="478"/>
          <ac:picMkLst>
            <pc:docMk/>
            <pc:sldMk cId="1428443662" sldId="2145705513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1T00:51:43.847" v="176" actId="1076"/>
          <ac:picMkLst>
            <pc:docMk/>
            <pc:sldMk cId="1428443662" sldId="2145705513"/>
            <ac:picMk id="16386" creationId="{7A1E6BCE-E9E3-8445-85B8-4DF970D00A9D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6:59:21.951" v="6002"/>
        <pc:sldMkLst>
          <pc:docMk/>
          <pc:sldMk cId="1469389046" sldId="2145705514"/>
        </pc:sldMkLst>
        <pc:spChg chg="del mod">
          <ac:chgData name="Juan Chacon Leon" userId="a5ea4cd5-abd8-4ce9-8acf-c5bb0e457165" providerId="ADAL" clId="{94D6BE0C-839B-D449-98E3-22CFD969AB83}" dt="2021-12-09T16:59:18.831" v="6000" actId="478"/>
          <ac:spMkLst>
            <pc:docMk/>
            <pc:sldMk cId="1469389046" sldId="2145705514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20.519" v="6001" actId="478"/>
          <ac:spMkLst>
            <pc:docMk/>
            <pc:sldMk cId="1469389046" sldId="2145705514"/>
            <ac:spMk id="3" creationId="{3759FBFE-F1D2-C045-A9D4-98C2F5EDFD36}"/>
          </ac:spMkLst>
        </pc:spChg>
        <pc:spChg chg="add mod">
          <ac:chgData name="Juan Chacon Leon" userId="a5ea4cd5-abd8-4ce9-8acf-c5bb0e457165" providerId="ADAL" clId="{94D6BE0C-839B-D449-98E3-22CFD969AB83}" dt="2021-12-09T16:59:21.951" v="6002"/>
          <ac:spMkLst>
            <pc:docMk/>
            <pc:sldMk cId="1469389046" sldId="2145705514"/>
            <ac:spMk id="8" creationId="{AC2EF31D-3F9D-674A-9072-BC153E2B2BFE}"/>
          </ac:spMkLst>
        </pc:spChg>
      </pc:sldChg>
      <pc:sldChg chg="add">
        <pc:chgData name="Juan Chacon Leon" userId="a5ea4cd5-abd8-4ce9-8acf-c5bb0e457165" providerId="ADAL" clId="{94D6BE0C-839B-D449-98E3-22CFD969AB83}" dt="2021-12-01T00:43:53.131" v="89"/>
        <pc:sldMkLst>
          <pc:docMk/>
          <pc:sldMk cId="2909568156" sldId="2145705514"/>
        </pc:sldMkLst>
      </pc:sldChg>
      <pc:sldChg chg="addSp delSp modSp add mod">
        <pc:chgData name="Juan Chacon Leon" userId="a5ea4cd5-abd8-4ce9-8acf-c5bb0e457165" providerId="ADAL" clId="{94D6BE0C-839B-D449-98E3-22CFD969AB83}" dt="2021-12-09T17:02:27.900" v="6036" actId="1076"/>
        <pc:sldMkLst>
          <pc:docMk/>
          <pc:sldMk cId="2120151606" sldId="2145705515"/>
        </pc:sldMkLst>
        <pc:spChg chg="add del mod">
          <ac:chgData name="Juan Chacon Leon" userId="a5ea4cd5-abd8-4ce9-8acf-c5bb0e457165" providerId="ADAL" clId="{94D6BE0C-839B-D449-98E3-22CFD969AB83}" dt="2021-12-09T17:02:27.900" v="6036" actId="1076"/>
          <ac:spMkLst>
            <pc:docMk/>
            <pc:sldMk cId="2120151606" sldId="2145705515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2:12.106" v="6034" actId="478"/>
          <ac:spMkLst>
            <pc:docMk/>
            <pc:sldMk cId="2120151606" sldId="2145705515"/>
            <ac:spMk id="3" creationId="{7D6F92EB-D7E6-1E4E-A84C-CF8F3B17AF9D}"/>
          </ac:spMkLst>
        </pc:spChg>
        <pc:spChg chg="add del mod">
          <ac:chgData name="Juan Chacon Leon" userId="a5ea4cd5-abd8-4ce9-8acf-c5bb0e457165" providerId="ADAL" clId="{94D6BE0C-839B-D449-98E3-22CFD969AB83}" dt="2021-12-08T21:21:17.133" v="4785" actId="478"/>
          <ac:spMkLst>
            <pc:docMk/>
            <pc:sldMk cId="2120151606" sldId="2145705515"/>
            <ac:spMk id="3" creationId="{A11DBDA5-07A9-6143-BA8A-7564B1050441}"/>
          </ac:spMkLst>
        </pc:spChg>
        <pc:spChg chg="add mod">
          <ac:chgData name="Juan Chacon Leon" userId="a5ea4cd5-abd8-4ce9-8acf-c5bb0e457165" providerId="ADAL" clId="{94D6BE0C-839B-D449-98E3-22CFD969AB83}" dt="2021-12-06T06:05:35.312" v="709" actId="1038"/>
          <ac:spMkLst>
            <pc:docMk/>
            <pc:sldMk cId="2120151606" sldId="2145705515"/>
            <ac:spMk id="4" creationId="{BF020CE2-86C3-FB41-ACFD-4B681FD7FEE3}"/>
          </ac:spMkLst>
        </pc:spChg>
        <pc:spChg chg="add del mod">
          <ac:chgData name="Juan Chacon Leon" userId="a5ea4cd5-abd8-4ce9-8acf-c5bb0e457165" providerId="ADAL" clId="{94D6BE0C-839B-D449-98E3-22CFD969AB83}" dt="2021-12-08T21:21:17.133" v="4785" actId="478"/>
          <ac:spMkLst>
            <pc:docMk/>
            <pc:sldMk cId="2120151606" sldId="2145705515"/>
            <ac:spMk id="6" creationId="{3663BA93-0CA3-ED43-BEA3-525209933F8F}"/>
          </ac:spMkLst>
        </pc:spChg>
        <pc:spChg chg="mod">
          <ac:chgData name="Juan Chacon Leon" userId="a5ea4cd5-abd8-4ce9-8acf-c5bb0e457165" providerId="ADAL" clId="{94D6BE0C-839B-D449-98E3-22CFD969AB83}" dt="2021-12-08T20:48:12.448" v="4745" actId="20577"/>
          <ac:spMkLst>
            <pc:docMk/>
            <pc:sldMk cId="2120151606" sldId="2145705515"/>
            <ac:spMk id="7" creationId="{CB319EE0-CFC0-0549-9D7B-26E97507CC9C}"/>
          </ac:spMkLst>
        </pc:spChg>
        <pc:spChg chg="add del">
          <ac:chgData name="Juan Chacon Leon" userId="a5ea4cd5-abd8-4ce9-8acf-c5bb0e457165" providerId="ADAL" clId="{94D6BE0C-839B-D449-98E3-22CFD969AB83}" dt="2021-12-08T19:31:56.616" v="3418" actId="22"/>
          <ac:spMkLst>
            <pc:docMk/>
            <pc:sldMk cId="2120151606" sldId="2145705515"/>
            <ac:spMk id="9" creationId="{65B15E0E-ED4D-9340-9C3E-8C2F32CF9004}"/>
          </ac:spMkLst>
        </pc:spChg>
        <pc:spChg chg="add del mod">
          <ac:chgData name="Juan Chacon Leon" userId="a5ea4cd5-abd8-4ce9-8acf-c5bb0e457165" providerId="ADAL" clId="{94D6BE0C-839B-D449-98E3-22CFD969AB83}" dt="2021-12-06T06:04:19.110" v="647" actId="478"/>
          <ac:spMkLst>
            <pc:docMk/>
            <pc:sldMk cId="2120151606" sldId="2145705515"/>
            <ac:spMk id="10" creationId="{8E05E85C-659A-0340-8534-EE55DAA72D56}"/>
          </ac:spMkLst>
        </pc:spChg>
        <pc:spChg chg="add del">
          <ac:chgData name="Juan Chacon Leon" userId="a5ea4cd5-abd8-4ce9-8acf-c5bb0e457165" providerId="ADAL" clId="{94D6BE0C-839B-D449-98E3-22CFD969AB83}" dt="2021-12-08T19:32:03.710" v="3420" actId="22"/>
          <ac:spMkLst>
            <pc:docMk/>
            <pc:sldMk cId="2120151606" sldId="2145705515"/>
            <ac:spMk id="11" creationId="{F80AB1B7-0335-DA4C-8D24-D5F8D4ADCFF9}"/>
          </ac:spMkLst>
        </pc:spChg>
        <pc:spChg chg="add del mod">
          <ac:chgData name="Juan Chacon Leon" userId="a5ea4cd5-abd8-4ce9-8acf-c5bb0e457165" providerId="ADAL" clId="{94D6BE0C-839B-D449-98E3-22CFD969AB83}" dt="2021-12-09T17:02:11.400" v="6033"/>
          <ac:spMkLst>
            <pc:docMk/>
            <pc:sldMk cId="2120151606" sldId="2145705515"/>
            <ac:spMk id="12" creationId="{CBC5AC56-53FE-6F4C-B7A1-F71C295E5703}"/>
          </ac:spMkLst>
        </pc:spChg>
        <pc:spChg chg="add del">
          <ac:chgData name="Juan Chacon Leon" userId="a5ea4cd5-abd8-4ce9-8acf-c5bb0e457165" providerId="ADAL" clId="{94D6BE0C-839B-D449-98E3-22CFD969AB83}" dt="2021-12-08T19:33:34.875" v="3437" actId="22"/>
          <ac:spMkLst>
            <pc:docMk/>
            <pc:sldMk cId="2120151606" sldId="2145705515"/>
            <ac:spMk id="14" creationId="{19A5B154-5189-C749-83C8-CE41C4A0D83D}"/>
          </ac:spMkLst>
        </pc:spChg>
        <pc:spChg chg="add del mod">
          <ac:chgData name="Juan Chacon Leon" userId="a5ea4cd5-abd8-4ce9-8acf-c5bb0e457165" providerId="ADAL" clId="{94D6BE0C-839B-D449-98E3-22CFD969AB83}" dt="2021-12-08T21:21:17.133" v="4785" actId="478"/>
          <ac:spMkLst>
            <pc:docMk/>
            <pc:sldMk cId="2120151606" sldId="2145705515"/>
            <ac:spMk id="22" creationId="{843A8397-9DB2-EE4B-A730-B92BECA43AC4}"/>
          </ac:spMkLst>
        </pc:spChg>
        <pc:spChg chg="add mod">
          <ac:chgData name="Juan Chacon Leon" userId="a5ea4cd5-abd8-4ce9-8acf-c5bb0e457165" providerId="ADAL" clId="{94D6BE0C-839B-D449-98E3-22CFD969AB83}" dt="2021-12-08T21:27:38.852" v="4789" actId="1076"/>
          <ac:spMkLst>
            <pc:docMk/>
            <pc:sldMk cId="2120151606" sldId="2145705515"/>
            <ac:spMk id="23" creationId="{076A999B-B0C6-C34D-9443-E99580DEFF58}"/>
          </ac:spMkLst>
        </pc:spChg>
        <pc:spChg chg="add mod">
          <ac:chgData name="Juan Chacon Leon" userId="a5ea4cd5-abd8-4ce9-8acf-c5bb0e457165" providerId="ADAL" clId="{94D6BE0C-839B-D449-98E3-22CFD969AB83}" dt="2021-12-08T21:31:52.673" v="4882" actId="20577"/>
          <ac:spMkLst>
            <pc:docMk/>
            <pc:sldMk cId="2120151606" sldId="2145705515"/>
            <ac:spMk id="24" creationId="{BE1CBF2E-7AC6-A147-9A17-C45D7AC4DDAD}"/>
          </ac:spMkLst>
        </pc:spChg>
        <pc:picChg chg="add del mod">
          <ac:chgData name="Juan Chacon Leon" userId="a5ea4cd5-abd8-4ce9-8acf-c5bb0e457165" providerId="ADAL" clId="{94D6BE0C-839B-D449-98E3-22CFD969AB83}" dt="2021-12-08T21:21:17.133" v="4785" actId="478"/>
          <ac:picMkLst>
            <pc:docMk/>
            <pc:sldMk cId="2120151606" sldId="2145705515"/>
            <ac:picMk id="5" creationId="{CD2EB4EB-E69D-3E40-8697-A51E8E85E8B1}"/>
          </ac:picMkLst>
        </pc:picChg>
        <pc:picChg chg="add del mod">
          <ac:chgData name="Juan Chacon Leon" userId="a5ea4cd5-abd8-4ce9-8acf-c5bb0e457165" providerId="ADAL" clId="{94D6BE0C-839B-D449-98E3-22CFD969AB83}" dt="2021-12-08T20:31:24.970" v="4703" actId="478"/>
          <ac:picMkLst>
            <pc:docMk/>
            <pc:sldMk cId="2120151606" sldId="2145705515"/>
            <ac:picMk id="13" creationId="{60C55CD2-E951-9145-84C3-77B90275A96F}"/>
          </ac:picMkLst>
        </pc:picChg>
        <pc:picChg chg="add mod">
          <ac:chgData name="Juan Chacon Leon" userId="a5ea4cd5-abd8-4ce9-8acf-c5bb0e457165" providerId="ADAL" clId="{94D6BE0C-839B-D449-98E3-22CFD969AB83}" dt="2021-12-08T19:38:21.186" v="3476" actId="571"/>
          <ac:picMkLst>
            <pc:docMk/>
            <pc:sldMk cId="2120151606" sldId="2145705515"/>
            <ac:picMk id="17" creationId="{06DE5973-00BA-4B41-811D-B7C0F26F5C91}"/>
          </ac:picMkLst>
        </pc:picChg>
        <pc:picChg chg="add mod">
          <ac:chgData name="Juan Chacon Leon" userId="a5ea4cd5-abd8-4ce9-8acf-c5bb0e457165" providerId="ADAL" clId="{94D6BE0C-839B-D449-98E3-22CFD969AB83}" dt="2021-12-08T19:38:26.217" v="3478" actId="571"/>
          <ac:picMkLst>
            <pc:docMk/>
            <pc:sldMk cId="2120151606" sldId="2145705515"/>
            <ac:picMk id="18" creationId="{17339394-4660-4542-A5A2-85DBCF029CD6}"/>
          </ac:picMkLst>
        </pc:picChg>
        <pc:picChg chg="add mod">
          <ac:chgData name="Juan Chacon Leon" userId="a5ea4cd5-abd8-4ce9-8acf-c5bb0e457165" providerId="ADAL" clId="{94D6BE0C-839B-D449-98E3-22CFD969AB83}" dt="2021-12-08T19:38:35.947" v="3480" actId="571"/>
          <ac:picMkLst>
            <pc:docMk/>
            <pc:sldMk cId="2120151606" sldId="2145705515"/>
            <ac:picMk id="19" creationId="{B2DADBA8-4B03-9F4B-872A-48B60906442B}"/>
          </ac:picMkLst>
        </pc:picChg>
        <pc:picChg chg="add del mod">
          <ac:chgData name="Juan Chacon Leon" userId="a5ea4cd5-abd8-4ce9-8acf-c5bb0e457165" providerId="ADAL" clId="{94D6BE0C-839B-D449-98E3-22CFD969AB83}" dt="2021-12-08T19:38:58.945" v="3484" actId="478"/>
          <ac:picMkLst>
            <pc:docMk/>
            <pc:sldMk cId="2120151606" sldId="2145705515"/>
            <ac:picMk id="20" creationId="{6B28613C-550A-B449-A95E-3E45076374FB}"/>
          </ac:picMkLst>
        </pc:picChg>
        <pc:picChg chg="add mod">
          <ac:chgData name="Juan Chacon Leon" userId="a5ea4cd5-abd8-4ce9-8acf-c5bb0e457165" providerId="ADAL" clId="{94D6BE0C-839B-D449-98E3-22CFD969AB83}" dt="2021-12-08T19:39:08.796" v="3485" actId="571"/>
          <ac:picMkLst>
            <pc:docMk/>
            <pc:sldMk cId="2120151606" sldId="2145705515"/>
            <ac:picMk id="21" creationId="{BC060000-ECAF-D446-A14F-48745850E971}"/>
          </ac:picMkLst>
        </pc:picChg>
        <pc:picChg chg="add mod">
          <ac:chgData name="Juan Chacon Leon" userId="a5ea4cd5-abd8-4ce9-8acf-c5bb0e457165" providerId="ADAL" clId="{94D6BE0C-839B-D449-98E3-22CFD969AB83}" dt="2021-12-08T21:27:32.813" v="4788" actId="1076"/>
          <ac:picMkLst>
            <pc:docMk/>
            <pc:sldMk cId="2120151606" sldId="2145705515"/>
            <ac:picMk id="25" creationId="{98F52FF2-C5CC-124C-B2A6-DB6329A4B93A}"/>
          </ac:picMkLst>
        </pc:picChg>
        <pc:picChg chg="del">
          <ac:chgData name="Juan Chacon Leon" userId="a5ea4cd5-abd8-4ce9-8acf-c5bb0e457165" providerId="ADAL" clId="{94D6BE0C-839B-D449-98E3-22CFD969AB83}" dt="2021-12-01T19:02:32.965" v="350" actId="478"/>
          <ac:picMkLst>
            <pc:docMk/>
            <pc:sldMk cId="2120151606" sldId="2145705515"/>
            <ac:picMk id="5126" creationId="{287C27EA-5C22-1343-AE05-F5508642921A}"/>
          </ac:picMkLst>
        </pc:picChg>
        <pc:picChg chg="add del mod">
          <ac:chgData name="Juan Chacon Leon" userId="a5ea4cd5-abd8-4ce9-8acf-c5bb0e457165" providerId="ADAL" clId="{94D6BE0C-839B-D449-98E3-22CFD969AB83}" dt="2021-12-01T23:27:20.724" v="596" actId="21"/>
          <ac:picMkLst>
            <pc:docMk/>
            <pc:sldMk cId="2120151606" sldId="2145705515"/>
            <ac:picMk id="6146" creationId="{A28455C7-2B46-BE4E-992D-A7779E0489C7}"/>
          </ac:picMkLst>
        </pc:picChg>
        <pc:picChg chg="add mod">
          <ac:chgData name="Juan Chacon Leon" userId="a5ea4cd5-abd8-4ce9-8acf-c5bb0e457165" providerId="ADAL" clId="{94D6BE0C-839B-D449-98E3-22CFD969AB83}" dt="2021-12-08T19:32:35.574" v="3427" actId="14100"/>
          <ac:picMkLst>
            <pc:docMk/>
            <pc:sldMk cId="2120151606" sldId="2145705515"/>
            <ac:picMk id="31746" creationId="{700E0A0D-73C6-3D4A-9D36-66BFBFE69AA4}"/>
          </ac:picMkLst>
        </pc:picChg>
        <pc:picChg chg="add del mod">
          <ac:chgData name="Juan Chacon Leon" userId="a5ea4cd5-abd8-4ce9-8acf-c5bb0e457165" providerId="ADAL" clId="{94D6BE0C-839B-D449-98E3-22CFD969AB83}" dt="2021-12-08T19:34:32.920" v="3441" actId="478"/>
          <ac:picMkLst>
            <pc:docMk/>
            <pc:sldMk cId="2120151606" sldId="2145705515"/>
            <ac:picMk id="31748" creationId="{8264199E-C398-FE4C-A91B-C7B9F4C894A2}"/>
          </ac:picMkLst>
        </pc:picChg>
        <pc:picChg chg="add del mod">
          <ac:chgData name="Juan Chacon Leon" userId="a5ea4cd5-abd8-4ce9-8acf-c5bb0e457165" providerId="ADAL" clId="{94D6BE0C-839B-D449-98E3-22CFD969AB83}" dt="2021-12-08T19:39:13.955" v="3486" actId="478"/>
          <ac:picMkLst>
            <pc:docMk/>
            <pc:sldMk cId="2120151606" sldId="2145705515"/>
            <ac:picMk id="31750" creationId="{2770E699-7689-0540-90CA-C8C1D1642517}"/>
          </ac:picMkLst>
        </pc:picChg>
        <pc:picChg chg="add mod">
          <ac:chgData name="Juan Chacon Leon" userId="a5ea4cd5-abd8-4ce9-8acf-c5bb0e457165" providerId="ADAL" clId="{94D6BE0C-839B-D449-98E3-22CFD969AB83}" dt="2021-12-08T21:27:26.984" v="4787" actId="14100"/>
          <ac:picMkLst>
            <pc:docMk/>
            <pc:sldMk cId="2120151606" sldId="2145705515"/>
            <ac:picMk id="31752" creationId="{A53125E9-F579-B540-98C5-0449B6134023}"/>
          </ac:picMkLst>
        </pc:picChg>
        <pc:cxnChg chg="add del mod">
          <ac:chgData name="Juan Chacon Leon" userId="a5ea4cd5-abd8-4ce9-8acf-c5bb0e457165" providerId="ADAL" clId="{94D6BE0C-839B-D449-98E3-22CFD969AB83}" dt="2021-12-08T20:34:26.451" v="4718" actId="478"/>
          <ac:cxnSpMkLst>
            <pc:docMk/>
            <pc:sldMk cId="2120151606" sldId="2145705515"/>
            <ac:cxnSpMk id="16" creationId="{97A708E9-93A3-5E44-ABE9-1DBFC685BE07}"/>
          </ac:cxnSpMkLst>
        </pc:cxnChg>
      </pc:sldChg>
      <pc:sldChg chg="new del">
        <pc:chgData name="Juan Chacon Leon" userId="a5ea4cd5-abd8-4ce9-8acf-c5bb0e457165" providerId="ADAL" clId="{94D6BE0C-839B-D449-98E3-22CFD969AB83}" dt="2021-12-01T18:59:28.111" v="342" actId="680"/>
        <pc:sldMkLst>
          <pc:docMk/>
          <pc:sldMk cId="2541007714" sldId="2145705515"/>
        </pc:sldMkLst>
      </pc:sldChg>
      <pc:sldChg chg="addSp delSp modSp add del mod">
        <pc:chgData name="Juan Chacon Leon" userId="a5ea4cd5-abd8-4ce9-8acf-c5bb0e457165" providerId="ADAL" clId="{94D6BE0C-839B-D449-98E3-22CFD969AB83}" dt="2021-12-08T18:04:07.411" v="2653" actId="2696"/>
        <pc:sldMkLst>
          <pc:docMk/>
          <pc:sldMk cId="4289604492" sldId="2145705516"/>
        </pc:sldMkLst>
        <pc:spChg chg="add mod">
          <ac:chgData name="Juan Chacon Leon" userId="a5ea4cd5-abd8-4ce9-8acf-c5bb0e457165" providerId="ADAL" clId="{94D6BE0C-839B-D449-98E3-22CFD969AB83}" dt="2021-12-08T18:02:01.535" v="2617" actId="1076"/>
          <ac:spMkLst>
            <pc:docMk/>
            <pc:sldMk cId="4289604492" sldId="2145705516"/>
            <ac:spMk id="3" creationId="{3848DC82-D943-8E4D-AC48-93C1B0566C3A}"/>
          </ac:spMkLst>
        </pc:spChg>
        <pc:spChg chg="add del mod">
          <ac:chgData name="Juan Chacon Leon" userId="a5ea4cd5-abd8-4ce9-8acf-c5bb0e457165" providerId="ADAL" clId="{94D6BE0C-839B-D449-98E3-22CFD969AB83}" dt="2021-12-08T18:03:43.694" v="2651" actId="478"/>
          <ac:spMkLst>
            <pc:docMk/>
            <pc:sldMk cId="4289604492" sldId="2145705516"/>
            <ac:spMk id="4" creationId="{E43937C0-8459-D940-AAD2-43B9A0E9DA69}"/>
          </ac:spMkLst>
        </pc:spChg>
        <pc:spChg chg="add mod">
          <ac:chgData name="Juan Chacon Leon" userId="a5ea4cd5-abd8-4ce9-8acf-c5bb0e457165" providerId="ADAL" clId="{94D6BE0C-839B-D449-98E3-22CFD969AB83}" dt="2021-12-08T18:02:26.326" v="2620" actId="1076"/>
          <ac:spMkLst>
            <pc:docMk/>
            <pc:sldMk cId="4289604492" sldId="2145705516"/>
            <ac:spMk id="6" creationId="{7AF8F7CD-0F96-1443-91A7-BE6C9172D6CB}"/>
          </ac:spMkLst>
        </pc:spChg>
        <pc:spChg chg="add mod">
          <ac:chgData name="Juan Chacon Leon" userId="a5ea4cd5-abd8-4ce9-8acf-c5bb0e457165" providerId="ADAL" clId="{94D6BE0C-839B-D449-98E3-22CFD969AB83}" dt="2021-12-08T18:03:22.071" v="2644" actId="1036"/>
          <ac:spMkLst>
            <pc:docMk/>
            <pc:sldMk cId="4289604492" sldId="2145705516"/>
            <ac:spMk id="7" creationId="{9BDE1DD1-464A-FF4A-A76E-4922541C1297}"/>
          </ac:spMkLst>
        </pc:spChg>
        <pc:spChg chg="del">
          <ac:chgData name="Juan Chacon Leon" userId="a5ea4cd5-abd8-4ce9-8acf-c5bb0e457165" providerId="ADAL" clId="{94D6BE0C-839B-D449-98E3-22CFD969AB83}" dt="2021-12-01T23:16:01.618" v="369" actId="478"/>
          <ac:spMkLst>
            <pc:docMk/>
            <pc:sldMk cId="4289604492" sldId="2145705516"/>
            <ac:spMk id="7" creationId="{CB319EE0-CFC0-0549-9D7B-26E97507CC9C}"/>
          </ac:spMkLst>
        </pc:spChg>
        <pc:spChg chg="add mod">
          <ac:chgData name="Juan Chacon Leon" userId="a5ea4cd5-abd8-4ce9-8acf-c5bb0e457165" providerId="ADAL" clId="{94D6BE0C-839B-D449-98E3-22CFD969AB83}" dt="2021-12-08T18:03:44.612" v="2652" actId="6549"/>
          <ac:spMkLst>
            <pc:docMk/>
            <pc:sldMk cId="4289604492" sldId="2145705516"/>
            <ac:spMk id="8" creationId="{3DBC6458-C5D9-CE4E-8B7B-23F98F56A716}"/>
          </ac:spMkLst>
        </pc:spChg>
        <pc:spChg chg="add del mod">
          <ac:chgData name="Juan Chacon Leon" userId="a5ea4cd5-abd8-4ce9-8acf-c5bb0e457165" providerId="ADAL" clId="{94D6BE0C-839B-D449-98E3-22CFD969AB83}" dt="2021-12-07T16:43:10.382" v="2184"/>
          <ac:spMkLst>
            <pc:docMk/>
            <pc:sldMk cId="4289604492" sldId="2145705516"/>
            <ac:spMk id="9" creationId="{E0652475-559F-2648-AA04-BF2CB00E0DF9}"/>
          </ac:spMkLst>
        </pc:spChg>
        <pc:spChg chg="add del mod">
          <ac:chgData name="Juan Chacon Leon" userId="a5ea4cd5-abd8-4ce9-8acf-c5bb0e457165" providerId="ADAL" clId="{94D6BE0C-839B-D449-98E3-22CFD969AB83}" dt="2021-12-08T16:33:47.158" v="2236" actId="478"/>
          <ac:spMkLst>
            <pc:docMk/>
            <pc:sldMk cId="4289604492" sldId="2145705516"/>
            <ac:spMk id="12" creationId="{8CDEFCF6-6C8B-3245-A4E8-4FF18EDCEFAB}"/>
          </ac:spMkLst>
        </pc:spChg>
        <pc:spChg chg="add del mod">
          <ac:chgData name="Juan Chacon Leon" userId="a5ea4cd5-abd8-4ce9-8acf-c5bb0e457165" providerId="ADAL" clId="{94D6BE0C-839B-D449-98E3-22CFD969AB83}" dt="2021-12-08T16:35:03.790" v="2239"/>
          <ac:spMkLst>
            <pc:docMk/>
            <pc:sldMk cId="4289604492" sldId="2145705516"/>
            <ac:spMk id="13" creationId="{AF9FCD88-4949-7245-A973-DF7A74599A9F}"/>
          </ac:spMkLst>
        </pc:spChg>
        <pc:spChg chg="add del mod">
          <ac:chgData name="Juan Chacon Leon" userId="a5ea4cd5-abd8-4ce9-8acf-c5bb0e457165" providerId="ADAL" clId="{94D6BE0C-839B-D449-98E3-22CFD969AB83}" dt="2021-12-08T16:39:13.005" v="2266"/>
          <ac:spMkLst>
            <pc:docMk/>
            <pc:sldMk cId="4289604492" sldId="2145705516"/>
            <ac:spMk id="14" creationId="{928D80CE-26BA-C04B-96AB-6C0AB72E3676}"/>
          </ac:spMkLst>
        </pc:spChg>
        <pc:spChg chg="add del mod">
          <ac:chgData name="Juan Chacon Leon" userId="a5ea4cd5-abd8-4ce9-8acf-c5bb0e457165" providerId="ADAL" clId="{94D6BE0C-839B-D449-98E3-22CFD969AB83}" dt="2021-12-08T16:39:19.727" v="2269"/>
          <ac:spMkLst>
            <pc:docMk/>
            <pc:sldMk cId="4289604492" sldId="2145705516"/>
            <ac:spMk id="15" creationId="{839174FD-0C20-2C46-844A-9D6B5A88C440}"/>
          </ac:spMkLst>
        </pc:spChg>
        <pc:spChg chg="add del">
          <ac:chgData name="Juan Chacon Leon" userId="a5ea4cd5-abd8-4ce9-8acf-c5bb0e457165" providerId="ADAL" clId="{94D6BE0C-839B-D449-98E3-22CFD969AB83}" dt="2021-12-08T00:07:15.565" v="2192" actId="22"/>
          <ac:spMkLst>
            <pc:docMk/>
            <pc:sldMk cId="4289604492" sldId="2145705516"/>
            <ac:spMk id="16" creationId="{B3424547-7096-4A4A-9DA3-7774A355B0F0}"/>
          </ac:spMkLst>
        </pc:spChg>
        <pc:spChg chg="add mod">
          <ac:chgData name="Juan Chacon Leon" userId="a5ea4cd5-abd8-4ce9-8acf-c5bb0e457165" providerId="ADAL" clId="{94D6BE0C-839B-D449-98E3-22CFD969AB83}" dt="2021-12-08T18:02:17.439" v="2619" actId="1076"/>
          <ac:spMkLst>
            <pc:docMk/>
            <pc:sldMk cId="4289604492" sldId="2145705516"/>
            <ac:spMk id="17" creationId="{3C779E13-DCBF-EC48-92F4-9AA1A145D972}"/>
          </ac:spMkLst>
        </pc:spChg>
        <pc:spChg chg="add mod">
          <ac:chgData name="Juan Chacon Leon" userId="a5ea4cd5-abd8-4ce9-8acf-c5bb0e457165" providerId="ADAL" clId="{94D6BE0C-839B-D449-98E3-22CFD969AB83}" dt="2021-12-08T18:02:53.697" v="2631" actId="6549"/>
          <ac:spMkLst>
            <pc:docMk/>
            <pc:sldMk cId="4289604492" sldId="2145705516"/>
            <ac:spMk id="18" creationId="{6C9F7C9D-612F-9043-B7A8-96E6C14D8BE2}"/>
          </ac:spMkLst>
        </pc:spChg>
        <pc:spChg chg="add del mod">
          <ac:chgData name="Juan Chacon Leon" userId="a5ea4cd5-abd8-4ce9-8acf-c5bb0e457165" providerId="ADAL" clId="{94D6BE0C-839B-D449-98E3-22CFD969AB83}" dt="2021-12-08T17:21:47.357" v="2396"/>
          <ac:spMkLst>
            <pc:docMk/>
            <pc:sldMk cId="4289604492" sldId="2145705516"/>
            <ac:spMk id="19" creationId="{8885A86C-B2C9-9843-9E8A-C28B5EFD1819}"/>
          </ac:spMkLst>
        </pc:spChg>
        <pc:spChg chg="add del">
          <ac:chgData name="Juan Chacon Leon" userId="a5ea4cd5-abd8-4ce9-8acf-c5bb0e457165" providerId="ADAL" clId="{94D6BE0C-839B-D449-98E3-22CFD969AB83}" dt="2021-12-08T00:58:53.480" v="2224" actId="22"/>
          <ac:spMkLst>
            <pc:docMk/>
            <pc:sldMk cId="4289604492" sldId="2145705516"/>
            <ac:spMk id="20" creationId="{E02E316F-B6FF-694F-A945-01579DE13421}"/>
          </ac:spMkLst>
        </pc:spChg>
        <pc:spChg chg="add del mod">
          <ac:chgData name="Juan Chacon Leon" userId="a5ea4cd5-abd8-4ce9-8acf-c5bb0e457165" providerId="ADAL" clId="{94D6BE0C-839B-D449-98E3-22CFD969AB83}" dt="2021-12-08T17:51:06.402" v="2504"/>
          <ac:spMkLst>
            <pc:docMk/>
            <pc:sldMk cId="4289604492" sldId="2145705516"/>
            <ac:spMk id="21" creationId="{98A37CEB-A12A-DB4B-BEA1-1ACDB83829BF}"/>
          </ac:spMkLst>
        </pc:spChg>
        <pc:spChg chg="add mod">
          <ac:chgData name="Juan Chacon Leon" userId="a5ea4cd5-abd8-4ce9-8acf-c5bb0e457165" providerId="ADAL" clId="{94D6BE0C-839B-D449-98E3-22CFD969AB83}" dt="2021-12-08T17:59:25.547" v="2592" actId="1076"/>
          <ac:spMkLst>
            <pc:docMk/>
            <pc:sldMk cId="4289604492" sldId="2145705516"/>
            <ac:spMk id="22" creationId="{F30ECA8D-72A6-F846-8433-CB3BB8D28B9D}"/>
          </ac:spMkLst>
        </pc:spChg>
        <pc:spChg chg="add del mod">
          <ac:chgData name="Juan Chacon Leon" userId="a5ea4cd5-abd8-4ce9-8acf-c5bb0e457165" providerId="ADAL" clId="{94D6BE0C-839B-D449-98E3-22CFD969AB83}" dt="2021-12-08T17:57:36.740" v="2576"/>
          <ac:spMkLst>
            <pc:docMk/>
            <pc:sldMk cId="4289604492" sldId="2145705516"/>
            <ac:spMk id="23" creationId="{C99E443A-F11B-DD40-8342-B0073F936539}"/>
          </ac:spMkLst>
        </pc:spChg>
        <pc:spChg chg="add mod">
          <ac:chgData name="Juan Chacon Leon" userId="a5ea4cd5-abd8-4ce9-8acf-c5bb0e457165" providerId="ADAL" clId="{94D6BE0C-839B-D449-98E3-22CFD969AB83}" dt="2021-12-08T18:01:27.231" v="2611" actId="1076"/>
          <ac:spMkLst>
            <pc:docMk/>
            <pc:sldMk cId="4289604492" sldId="2145705516"/>
            <ac:spMk id="24" creationId="{5DA9CB29-AF6A-B645-94BA-3AB3E77D5297}"/>
          </ac:spMkLst>
        </pc:spChg>
        <pc:spChg chg="add del">
          <ac:chgData name="Juan Chacon Leon" userId="a5ea4cd5-abd8-4ce9-8acf-c5bb0e457165" providerId="ADAL" clId="{94D6BE0C-839B-D449-98E3-22CFD969AB83}" dt="2021-12-08T17:57:40.459" v="2578" actId="22"/>
          <ac:spMkLst>
            <pc:docMk/>
            <pc:sldMk cId="4289604492" sldId="2145705516"/>
            <ac:spMk id="44" creationId="{290BD859-0327-D746-BDC6-3401629617CA}"/>
          </ac:spMkLst>
        </pc:spChg>
        <pc:picChg chg="add del mod">
          <ac:chgData name="Juan Chacon Leon" userId="a5ea4cd5-abd8-4ce9-8acf-c5bb0e457165" providerId="ADAL" clId="{94D6BE0C-839B-D449-98E3-22CFD969AB83}" dt="2021-12-08T00:07:13.821" v="2190" actId="478"/>
          <ac:picMkLst>
            <pc:docMk/>
            <pc:sldMk cId="4289604492" sldId="2145705516"/>
            <ac:picMk id="5" creationId="{D19C2B49-CCDD-AC4B-8229-231D47D8DA4C}"/>
          </ac:picMkLst>
        </pc:picChg>
        <pc:picChg chg="add del mod">
          <ac:chgData name="Juan Chacon Leon" userId="a5ea4cd5-abd8-4ce9-8acf-c5bb0e457165" providerId="ADAL" clId="{94D6BE0C-839B-D449-98E3-22CFD969AB83}" dt="2021-12-01T23:17:17.848" v="376" actId="21"/>
          <ac:picMkLst>
            <pc:docMk/>
            <pc:sldMk cId="4289604492" sldId="2145705516"/>
            <ac:picMk id="5122" creationId="{172D3CBA-6610-5A40-9568-5BE8E9A46161}"/>
          </ac:picMkLst>
        </pc:picChg>
        <pc:picChg chg="add del mod">
          <ac:chgData name="Juan Chacon Leon" userId="a5ea4cd5-abd8-4ce9-8acf-c5bb0e457165" providerId="ADAL" clId="{94D6BE0C-839B-D449-98E3-22CFD969AB83}" dt="2021-12-08T16:42:07.480" v="2316" actId="478"/>
          <ac:picMkLst>
            <pc:docMk/>
            <pc:sldMk cId="4289604492" sldId="2145705516"/>
            <ac:picMk id="5122" creationId="{8BA07967-9380-4642-9215-542DCED1CBA9}"/>
          </ac:picMkLst>
        </pc:picChg>
        <pc:picChg chg="add del mod">
          <ac:chgData name="Juan Chacon Leon" userId="a5ea4cd5-abd8-4ce9-8acf-c5bb0e457165" providerId="ADAL" clId="{94D6BE0C-839B-D449-98E3-22CFD969AB83}" dt="2021-12-08T16:43:01.886" v="2322" actId="478"/>
          <ac:picMkLst>
            <pc:docMk/>
            <pc:sldMk cId="4289604492" sldId="2145705516"/>
            <ac:picMk id="5124" creationId="{BFCAB62C-A631-054A-9775-AACD4EBA8C1D}"/>
          </ac:picMkLst>
        </pc:picChg>
        <pc:picChg chg="add del mod">
          <ac:chgData name="Juan Chacon Leon" userId="a5ea4cd5-abd8-4ce9-8acf-c5bb0e457165" providerId="ADAL" clId="{94D6BE0C-839B-D449-98E3-22CFD969AB83}" dt="2021-12-08T16:43:01.886" v="2322" actId="478"/>
          <ac:picMkLst>
            <pc:docMk/>
            <pc:sldMk cId="4289604492" sldId="2145705516"/>
            <ac:picMk id="5126" creationId="{916660D6-5B54-834E-9A4C-8D4DBB916830}"/>
          </ac:picMkLst>
        </pc:picChg>
        <pc:picChg chg="add del mod">
          <ac:chgData name="Juan Chacon Leon" userId="a5ea4cd5-abd8-4ce9-8acf-c5bb0e457165" providerId="ADAL" clId="{94D6BE0C-839B-D449-98E3-22CFD969AB83}" dt="2021-12-08T17:48:32.015" v="2484" actId="478"/>
          <ac:picMkLst>
            <pc:docMk/>
            <pc:sldMk cId="4289604492" sldId="2145705516"/>
            <ac:picMk id="5128" creationId="{08E1151A-9693-7146-B494-CC800D41269B}"/>
          </ac:picMkLst>
        </pc:picChg>
        <pc:picChg chg="add del mod">
          <ac:chgData name="Juan Chacon Leon" userId="a5ea4cd5-abd8-4ce9-8acf-c5bb0e457165" providerId="ADAL" clId="{94D6BE0C-839B-D449-98E3-22CFD969AB83}" dt="2021-12-08T17:51:04.412" v="2502" actId="478"/>
          <ac:picMkLst>
            <pc:docMk/>
            <pc:sldMk cId="4289604492" sldId="2145705516"/>
            <ac:picMk id="5130" creationId="{2D9CA087-2E1A-4E4E-AE2C-74A405F423C7}"/>
          </ac:picMkLst>
        </pc:picChg>
        <pc:picChg chg="add mod">
          <ac:chgData name="Juan Chacon Leon" userId="a5ea4cd5-abd8-4ce9-8acf-c5bb0e457165" providerId="ADAL" clId="{94D6BE0C-839B-D449-98E3-22CFD969AB83}" dt="2021-12-08T18:02:05.772" v="2618" actId="1076"/>
          <ac:picMkLst>
            <pc:docMk/>
            <pc:sldMk cId="4289604492" sldId="2145705516"/>
            <ac:picMk id="5132" creationId="{E107A0CD-AEAC-FD46-B401-F0A77D8FA416}"/>
          </ac:picMkLst>
        </pc:picChg>
        <pc:picChg chg="add del mod">
          <ac:chgData name="Juan Chacon Leon" userId="a5ea4cd5-abd8-4ce9-8acf-c5bb0e457165" providerId="ADAL" clId="{94D6BE0C-839B-D449-98E3-22CFD969AB83}" dt="2021-12-08T00:58:51.751" v="2222" actId="478"/>
          <ac:picMkLst>
            <pc:docMk/>
            <pc:sldMk cId="4289604492" sldId="2145705516"/>
            <ac:picMk id="5134" creationId="{59BE3A31-A365-0047-BF74-757B70440DC4}"/>
          </ac:picMkLst>
        </pc:picChg>
        <pc:picChg chg="add del mod">
          <ac:chgData name="Juan Chacon Leon" userId="a5ea4cd5-abd8-4ce9-8acf-c5bb0e457165" providerId="ADAL" clId="{94D6BE0C-839B-D449-98E3-22CFD969AB83}" dt="2021-12-08T00:59:12.982" v="2227" actId="478"/>
          <ac:picMkLst>
            <pc:docMk/>
            <pc:sldMk cId="4289604492" sldId="2145705516"/>
            <ac:picMk id="5136" creationId="{BFBE6C87-EE7A-6A4E-A3F1-17E46DA0E526}"/>
          </ac:picMkLst>
        </pc:picChg>
        <pc:picChg chg="add mod">
          <ac:chgData name="Juan Chacon Leon" userId="a5ea4cd5-abd8-4ce9-8acf-c5bb0e457165" providerId="ADAL" clId="{94D6BE0C-839B-D449-98E3-22CFD969AB83}" dt="2021-12-08T18:03:16.464" v="2637" actId="1036"/>
          <ac:picMkLst>
            <pc:docMk/>
            <pc:sldMk cId="4289604492" sldId="2145705516"/>
            <ac:picMk id="5138" creationId="{DA42F92B-3A15-124C-82CD-A6FA5A1D5439}"/>
          </ac:picMkLst>
        </pc:picChg>
        <pc:picChg chg="add mod">
          <ac:chgData name="Juan Chacon Leon" userId="a5ea4cd5-abd8-4ce9-8acf-c5bb0e457165" providerId="ADAL" clId="{94D6BE0C-839B-D449-98E3-22CFD969AB83}" dt="2021-12-08T18:03:22.071" v="2644" actId="1036"/>
          <ac:picMkLst>
            <pc:docMk/>
            <pc:sldMk cId="4289604492" sldId="2145705516"/>
            <ac:picMk id="5140" creationId="{5D8009B1-0DC8-374C-8B67-8CB36E3F1200}"/>
          </ac:picMkLst>
        </pc:picChg>
        <pc:picChg chg="add del mod">
          <ac:chgData name="Juan Chacon Leon" userId="a5ea4cd5-abd8-4ce9-8acf-c5bb0e457165" providerId="ADAL" clId="{94D6BE0C-839B-D449-98E3-22CFD969AB83}" dt="2021-12-08T17:19:47.374" v="2331" actId="478"/>
          <ac:picMkLst>
            <pc:docMk/>
            <pc:sldMk cId="4289604492" sldId="2145705516"/>
            <ac:picMk id="5142" creationId="{5A62570A-5563-1546-86A7-FA6325864ACE}"/>
          </ac:picMkLst>
        </pc:picChg>
        <pc:picChg chg="add mod">
          <ac:chgData name="Juan Chacon Leon" userId="a5ea4cd5-abd8-4ce9-8acf-c5bb0e457165" providerId="ADAL" clId="{94D6BE0C-839B-D449-98E3-22CFD969AB83}" dt="2021-12-08T18:01:41.102" v="2613" actId="1076"/>
          <ac:picMkLst>
            <pc:docMk/>
            <pc:sldMk cId="4289604492" sldId="2145705516"/>
            <ac:picMk id="5144" creationId="{DAB904E4-CDC6-9E48-A915-E08DC7111FFD}"/>
          </ac:picMkLst>
        </pc:picChg>
        <pc:picChg chg="add mod">
          <ac:chgData name="Juan Chacon Leon" userId="a5ea4cd5-abd8-4ce9-8acf-c5bb0e457165" providerId="ADAL" clId="{94D6BE0C-839B-D449-98E3-22CFD969AB83}" dt="2021-12-08T18:01:37.773" v="2612" actId="1076"/>
          <ac:picMkLst>
            <pc:docMk/>
            <pc:sldMk cId="4289604492" sldId="2145705516"/>
            <ac:picMk id="5146" creationId="{6D517ED8-081E-2946-A40E-19DC36346B7E}"/>
          </ac:picMkLst>
        </pc:picChg>
        <pc:picChg chg="add mod">
          <ac:chgData name="Juan Chacon Leon" userId="a5ea4cd5-abd8-4ce9-8acf-c5bb0e457165" providerId="ADAL" clId="{94D6BE0C-839B-D449-98E3-22CFD969AB83}" dt="2021-12-08T17:20:07.451" v="2335" actId="1076"/>
          <ac:picMkLst>
            <pc:docMk/>
            <pc:sldMk cId="4289604492" sldId="2145705516"/>
            <ac:picMk id="5148" creationId="{4A979471-670D-894C-B3F1-EDB828454C6C}"/>
          </ac:picMkLst>
        </pc:picChg>
        <pc:picChg chg="add del mod">
          <ac:chgData name="Juan Chacon Leon" userId="a5ea4cd5-abd8-4ce9-8acf-c5bb0e457165" providerId="ADAL" clId="{94D6BE0C-839B-D449-98E3-22CFD969AB83}" dt="2021-12-08T17:48:43.877" v="2489" actId="478"/>
          <ac:picMkLst>
            <pc:docMk/>
            <pc:sldMk cId="4289604492" sldId="2145705516"/>
            <ac:picMk id="5150" creationId="{830214C2-7AB0-FA43-8795-FB128915B623}"/>
          </ac:picMkLst>
        </pc:picChg>
        <pc:picChg chg="add del mod">
          <ac:chgData name="Juan Chacon Leon" userId="a5ea4cd5-abd8-4ce9-8acf-c5bb0e457165" providerId="ADAL" clId="{94D6BE0C-839B-D449-98E3-22CFD969AB83}" dt="2021-12-08T17:49:10.409" v="2494" actId="478"/>
          <ac:picMkLst>
            <pc:docMk/>
            <pc:sldMk cId="4289604492" sldId="2145705516"/>
            <ac:picMk id="5152" creationId="{2E580CDA-7FBF-C441-B2EB-6570457DC736}"/>
          </ac:picMkLst>
        </pc:picChg>
        <pc:picChg chg="add mod">
          <ac:chgData name="Juan Chacon Leon" userId="a5ea4cd5-abd8-4ce9-8acf-c5bb0e457165" providerId="ADAL" clId="{94D6BE0C-839B-D449-98E3-22CFD969AB83}" dt="2021-12-08T17:50:27.596" v="2501" actId="1076"/>
          <ac:picMkLst>
            <pc:docMk/>
            <pc:sldMk cId="4289604492" sldId="2145705516"/>
            <ac:picMk id="5154" creationId="{C43DC09D-2328-F74E-9A0F-4228EE4C34CC}"/>
          </ac:picMkLst>
        </pc:picChg>
        <pc:picChg chg="add del mod">
          <ac:chgData name="Juan Chacon Leon" userId="a5ea4cd5-abd8-4ce9-8acf-c5bb0e457165" providerId="ADAL" clId="{94D6BE0C-839B-D449-98E3-22CFD969AB83}" dt="2021-12-08T17:57:36.737" v="2574" actId="478"/>
          <ac:picMkLst>
            <pc:docMk/>
            <pc:sldMk cId="4289604492" sldId="2145705516"/>
            <ac:picMk id="5156" creationId="{B0C7E255-E738-F540-9C26-57ECC9B0FCBB}"/>
          </ac:picMkLst>
        </pc:picChg>
        <pc:picChg chg="add mod">
          <ac:chgData name="Juan Chacon Leon" userId="a5ea4cd5-abd8-4ce9-8acf-c5bb0e457165" providerId="ADAL" clId="{94D6BE0C-839B-D449-98E3-22CFD969AB83}" dt="2021-12-08T18:01:11.599" v="2610" actId="2085"/>
          <ac:picMkLst>
            <pc:docMk/>
            <pc:sldMk cId="4289604492" sldId="2145705516"/>
            <ac:picMk id="5158" creationId="{FF4683DF-0AEE-2E44-85C1-5E9E324DFA41}"/>
          </ac:picMkLst>
        </pc:picChg>
        <pc:picChg chg="add del">
          <ac:chgData name="Juan Chacon Leon" userId="a5ea4cd5-abd8-4ce9-8acf-c5bb0e457165" providerId="ADAL" clId="{94D6BE0C-839B-D449-98E3-22CFD969AB83}" dt="2021-12-08T18:03:31.019" v="2646"/>
          <ac:picMkLst>
            <pc:docMk/>
            <pc:sldMk cId="4289604492" sldId="2145705516"/>
            <ac:picMk id="5160" creationId="{1F223C07-1CE4-7742-ABE6-C95FD94D7B52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20:11:08.261" v="6465" actId="1076"/>
        <pc:sldMkLst>
          <pc:docMk/>
          <pc:sldMk cId="1974165986" sldId="2145705517"/>
        </pc:sldMkLst>
        <pc:spChg chg="mod">
          <ac:chgData name="Juan Chacon Leon" userId="a5ea4cd5-abd8-4ce9-8acf-c5bb0e457165" providerId="ADAL" clId="{94D6BE0C-839B-D449-98E3-22CFD969AB83}" dt="2021-12-09T17:23:17.098" v="6159" actId="1037"/>
          <ac:spMkLst>
            <pc:docMk/>
            <pc:sldMk cId="1974165986" sldId="2145705517"/>
            <ac:spMk id="2" creationId="{26A69818-8071-0643-B8D6-170338131EDE}"/>
          </ac:spMkLst>
        </pc:spChg>
        <pc:spChg chg="add mod">
          <ac:chgData name="Juan Chacon Leon" userId="a5ea4cd5-abd8-4ce9-8acf-c5bb0e457165" providerId="ADAL" clId="{94D6BE0C-839B-D449-98E3-22CFD969AB83}" dt="2021-12-09T18:52:05.737" v="6348" actId="1076"/>
          <ac:spMkLst>
            <pc:docMk/>
            <pc:sldMk cId="1974165986" sldId="2145705517"/>
            <ac:spMk id="3" creationId="{F2A1122B-4152-6A42-888F-0E5DC2DB0423}"/>
          </ac:spMkLst>
        </pc:spChg>
        <pc:spChg chg="add del mod">
          <ac:chgData name="Juan Chacon Leon" userId="a5ea4cd5-abd8-4ce9-8acf-c5bb0e457165" providerId="ADAL" clId="{94D6BE0C-839B-D449-98E3-22CFD969AB83}" dt="2021-12-08T23:15:15.394" v="4990"/>
          <ac:spMkLst>
            <pc:docMk/>
            <pc:sldMk cId="1974165986" sldId="2145705517"/>
            <ac:spMk id="4" creationId="{2DFE2AEA-388A-9641-8913-C582142BE50B}"/>
          </ac:spMkLst>
        </pc:spChg>
        <pc:spChg chg="add mod">
          <ac:chgData name="Juan Chacon Leon" userId="a5ea4cd5-abd8-4ce9-8acf-c5bb0e457165" providerId="ADAL" clId="{94D6BE0C-839B-D449-98E3-22CFD969AB83}" dt="2021-12-09T18:49:10.152" v="6253" actId="1076"/>
          <ac:spMkLst>
            <pc:docMk/>
            <pc:sldMk cId="1974165986" sldId="2145705517"/>
            <ac:spMk id="4" creationId="{98C90F02-BAD6-C849-8AD9-2F20DFAE0C45}"/>
          </ac:spMkLst>
        </pc:spChg>
        <pc:spChg chg="add del mod">
          <ac:chgData name="Juan Chacon Leon" userId="a5ea4cd5-abd8-4ce9-8acf-c5bb0e457165" providerId="ADAL" clId="{94D6BE0C-839B-D449-98E3-22CFD969AB83}" dt="2021-12-07T07:14:35.723" v="1761" actId="478"/>
          <ac:spMkLst>
            <pc:docMk/>
            <pc:sldMk cId="1974165986" sldId="2145705517"/>
            <ac:spMk id="4" creationId="{EA5D29D3-0991-B143-A59F-3D6133209763}"/>
          </ac:spMkLst>
        </pc:spChg>
        <pc:spChg chg="add del mod">
          <ac:chgData name="Juan Chacon Leon" userId="a5ea4cd5-abd8-4ce9-8acf-c5bb0e457165" providerId="ADAL" clId="{94D6BE0C-839B-D449-98E3-22CFD969AB83}" dt="2021-12-07T07:11:14.821" v="1731"/>
          <ac:spMkLst>
            <pc:docMk/>
            <pc:sldMk cId="1974165986" sldId="2145705517"/>
            <ac:spMk id="5" creationId="{22810BEA-51E2-B247-997C-8282228C1994}"/>
          </ac:spMkLst>
        </pc:spChg>
        <pc:spChg chg="add mod">
          <ac:chgData name="Juan Chacon Leon" userId="a5ea4cd5-abd8-4ce9-8acf-c5bb0e457165" providerId="ADAL" clId="{94D6BE0C-839B-D449-98E3-22CFD969AB83}" dt="2021-12-09T18:48:53.016" v="6250" actId="1076"/>
          <ac:spMkLst>
            <pc:docMk/>
            <pc:sldMk cId="1974165986" sldId="2145705517"/>
            <ac:spMk id="5" creationId="{D55681AF-4A97-F94D-9585-35BF2227E35F}"/>
          </ac:spMkLst>
        </pc:spChg>
        <pc:spChg chg="add mod">
          <ac:chgData name="Juan Chacon Leon" userId="a5ea4cd5-abd8-4ce9-8acf-c5bb0e457165" providerId="ADAL" clId="{94D6BE0C-839B-D449-98E3-22CFD969AB83}" dt="2021-12-09T18:52:09.109" v="6349" actId="1076"/>
          <ac:spMkLst>
            <pc:docMk/>
            <pc:sldMk cId="1974165986" sldId="2145705517"/>
            <ac:spMk id="6" creationId="{1CCADA2A-ACB6-534A-B007-3485BEC0C9D1}"/>
          </ac:spMkLst>
        </pc:spChg>
        <pc:spChg chg="add mod">
          <ac:chgData name="Juan Chacon Leon" userId="a5ea4cd5-abd8-4ce9-8acf-c5bb0e457165" providerId="ADAL" clId="{94D6BE0C-839B-D449-98E3-22CFD969AB83}" dt="2021-12-09T18:52:13.464" v="6350" actId="1076"/>
          <ac:spMkLst>
            <pc:docMk/>
            <pc:sldMk cId="1974165986" sldId="2145705517"/>
            <ac:spMk id="7" creationId="{68BE0A31-6D92-064B-85A3-DF2529AF2296}"/>
          </ac:spMkLst>
        </pc:spChg>
        <pc:spChg chg="add mod">
          <ac:chgData name="Juan Chacon Leon" userId="a5ea4cd5-abd8-4ce9-8acf-c5bb0e457165" providerId="ADAL" clId="{94D6BE0C-839B-D449-98E3-22CFD969AB83}" dt="2021-12-09T20:05:42.893" v="6356" actId="20577"/>
          <ac:spMkLst>
            <pc:docMk/>
            <pc:sldMk cId="1974165986" sldId="2145705517"/>
            <ac:spMk id="8" creationId="{7109558F-7219-C545-9E74-7E536F08AD4F}"/>
          </ac:spMkLst>
        </pc:spChg>
        <pc:spChg chg="add mod">
          <ac:chgData name="Juan Chacon Leon" userId="a5ea4cd5-abd8-4ce9-8acf-c5bb0e457165" providerId="ADAL" clId="{94D6BE0C-839B-D449-98E3-22CFD969AB83}" dt="2021-12-07T07:19:15.909" v="1927" actId="1076"/>
          <ac:spMkLst>
            <pc:docMk/>
            <pc:sldMk cId="1974165986" sldId="2145705517"/>
            <ac:spMk id="9" creationId="{C903667F-5EC9-8F41-8FBD-80C58071BA81}"/>
          </ac:spMkLst>
        </pc:spChg>
        <pc:spChg chg="add del mod">
          <ac:chgData name="Juan Chacon Leon" userId="a5ea4cd5-abd8-4ce9-8acf-c5bb0e457165" providerId="ADAL" clId="{94D6BE0C-839B-D449-98E3-22CFD969AB83}" dt="2021-12-07T07:23:12.149" v="2003" actId="478"/>
          <ac:spMkLst>
            <pc:docMk/>
            <pc:sldMk cId="1974165986" sldId="2145705517"/>
            <ac:spMk id="10" creationId="{67086DAB-F161-1240-86D9-1546C8A82A25}"/>
          </ac:spMkLst>
        </pc:spChg>
        <pc:spChg chg="add mod">
          <ac:chgData name="Juan Chacon Leon" userId="a5ea4cd5-abd8-4ce9-8acf-c5bb0e457165" providerId="ADAL" clId="{94D6BE0C-839B-D449-98E3-22CFD969AB83}" dt="2021-12-09T18:52:17.681" v="6351" actId="1076"/>
          <ac:spMkLst>
            <pc:docMk/>
            <pc:sldMk cId="1974165986" sldId="2145705517"/>
            <ac:spMk id="10" creationId="{92EF1587-A0F1-8648-808D-9A63242A5EF5}"/>
          </ac:spMkLst>
        </pc:spChg>
        <pc:spChg chg="add mod">
          <ac:chgData name="Juan Chacon Leon" userId="a5ea4cd5-abd8-4ce9-8acf-c5bb0e457165" providerId="ADAL" clId="{94D6BE0C-839B-D449-98E3-22CFD969AB83}" dt="2021-12-09T18:52:02.855" v="6347" actId="1076"/>
          <ac:spMkLst>
            <pc:docMk/>
            <pc:sldMk cId="1974165986" sldId="2145705517"/>
            <ac:spMk id="11" creationId="{FA7D64CA-1951-2542-9A9D-99821A0D58C7}"/>
          </ac:spMkLst>
        </pc:spChg>
        <pc:spChg chg="add mod">
          <ac:chgData name="Juan Chacon Leon" userId="a5ea4cd5-abd8-4ce9-8acf-c5bb0e457165" providerId="ADAL" clId="{94D6BE0C-839B-D449-98E3-22CFD969AB83}" dt="2021-12-07T07:27:05.446" v="2032" actId="6549"/>
          <ac:spMkLst>
            <pc:docMk/>
            <pc:sldMk cId="1974165986" sldId="2145705517"/>
            <ac:spMk id="12" creationId="{771AF1F9-54AB-9D48-BA26-6607522FE3D5}"/>
          </ac:spMkLst>
        </pc:spChg>
        <pc:spChg chg="add del mod">
          <ac:chgData name="Juan Chacon Leon" userId="a5ea4cd5-abd8-4ce9-8acf-c5bb0e457165" providerId="ADAL" clId="{94D6BE0C-839B-D449-98E3-22CFD969AB83}" dt="2021-12-09T18:47:37.428" v="6243"/>
          <ac:spMkLst>
            <pc:docMk/>
            <pc:sldMk cId="1974165986" sldId="2145705517"/>
            <ac:spMk id="13" creationId="{0436CBF7-A6BD-4E4E-9E3D-F778290A549E}"/>
          </ac:spMkLst>
        </pc:spChg>
        <pc:spChg chg="add del mod">
          <ac:chgData name="Juan Chacon Leon" userId="a5ea4cd5-abd8-4ce9-8acf-c5bb0e457165" providerId="ADAL" clId="{94D6BE0C-839B-D449-98E3-22CFD969AB83}" dt="2021-12-08T23:30:44.354" v="5408"/>
          <ac:spMkLst>
            <pc:docMk/>
            <pc:sldMk cId="1974165986" sldId="2145705517"/>
            <ac:spMk id="13" creationId="{EA5A8F06-BAA3-0E4A-8B8B-7DD6E74C027E}"/>
          </ac:spMkLst>
        </pc:spChg>
        <pc:spChg chg="add mod">
          <ac:chgData name="Juan Chacon Leon" userId="a5ea4cd5-abd8-4ce9-8acf-c5bb0e457165" providerId="ADAL" clId="{94D6BE0C-839B-D449-98E3-22CFD969AB83}" dt="2021-12-09T20:05:30.917" v="6354" actId="20577"/>
          <ac:spMkLst>
            <pc:docMk/>
            <pc:sldMk cId="1974165986" sldId="2145705517"/>
            <ac:spMk id="14" creationId="{E762BC23-2A89-1342-A04C-EFC6AC1F77B7}"/>
          </ac:spMkLst>
        </pc:spChg>
        <pc:spChg chg="add mod">
          <ac:chgData name="Juan Chacon Leon" userId="a5ea4cd5-abd8-4ce9-8acf-c5bb0e457165" providerId="ADAL" clId="{94D6BE0C-839B-D449-98E3-22CFD969AB83}" dt="2021-12-09T20:11:05.827" v="6464" actId="1076"/>
          <ac:spMkLst>
            <pc:docMk/>
            <pc:sldMk cId="1974165986" sldId="2145705517"/>
            <ac:spMk id="15" creationId="{C87B8E62-4F25-6C46-B740-0F401EEBF2C2}"/>
          </ac:spMkLst>
        </pc:spChg>
        <pc:spChg chg="add mod">
          <ac:chgData name="Juan Chacon Leon" userId="a5ea4cd5-abd8-4ce9-8acf-c5bb0e457165" providerId="ADAL" clId="{94D6BE0C-839B-D449-98E3-22CFD969AB83}" dt="2021-12-09T18:50:53.735" v="6296" actId="1076"/>
          <ac:spMkLst>
            <pc:docMk/>
            <pc:sldMk cId="1974165986" sldId="2145705517"/>
            <ac:spMk id="17" creationId="{E03D560A-F1F3-8B41-9B42-6849E0DB7D02}"/>
          </ac:spMkLst>
        </pc:spChg>
        <pc:spChg chg="add mod">
          <ac:chgData name="Juan Chacon Leon" userId="a5ea4cd5-abd8-4ce9-8acf-c5bb0e457165" providerId="ADAL" clId="{94D6BE0C-839B-D449-98E3-22CFD969AB83}" dt="2021-12-09T18:51:42.777" v="6343" actId="20577"/>
          <ac:spMkLst>
            <pc:docMk/>
            <pc:sldMk cId="1974165986" sldId="2145705517"/>
            <ac:spMk id="18" creationId="{6A4D0613-1E68-804E-BC25-00992332224F}"/>
          </ac:spMkLst>
        </pc:spChg>
        <pc:picChg chg="del">
          <ac:chgData name="Juan Chacon Leon" userId="a5ea4cd5-abd8-4ce9-8acf-c5bb0e457165" providerId="ADAL" clId="{94D6BE0C-839B-D449-98E3-22CFD969AB83}" dt="2021-12-04T20:19:50.271" v="611" actId="478"/>
          <ac:picMkLst>
            <pc:docMk/>
            <pc:sldMk cId="1974165986" sldId="2145705517"/>
            <ac:picMk id="5" creationId="{D19C2B49-CCDD-AC4B-8229-231D47D8DA4C}"/>
          </ac:picMkLst>
        </pc:picChg>
        <pc:picChg chg="add mod">
          <ac:chgData name="Juan Chacon Leon" userId="a5ea4cd5-abd8-4ce9-8acf-c5bb0e457165" providerId="ADAL" clId="{94D6BE0C-839B-D449-98E3-22CFD969AB83}" dt="2021-12-09T20:11:08.261" v="6465" actId="1076"/>
          <ac:picMkLst>
            <pc:docMk/>
            <pc:sldMk cId="1974165986" sldId="2145705517"/>
            <ac:picMk id="16" creationId="{0EF1DB21-C218-3646-8259-FE09A3A736C2}"/>
          </ac:picMkLst>
        </pc:picChg>
        <pc:picChg chg="add mod">
          <ac:chgData name="Juan Chacon Leon" userId="a5ea4cd5-abd8-4ce9-8acf-c5bb0e457165" providerId="ADAL" clId="{94D6BE0C-839B-D449-98E3-22CFD969AB83}" dt="2021-12-09T18:49:38.146" v="6262" actId="1076"/>
          <ac:picMkLst>
            <pc:docMk/>
            <pc:sldMk cId="1974165986" sldId="2145705517"/>
            <ac:picMk id="5122" creationId="{7731E116-B852-0A49-A7B7-42D6C0889194}"/>
          </ac:picMkLst>
        </pc:picChg>
        <pc:picChg chg="add mod">
          <ac:chgData name="Juan Chacon Leon" userId="a5ea4cd5-abd8-4ce9-8acf-c5bb0e457165" providerId="ADAL" clId="{94D6BE0C-839B-D449-98E3-22CFD969AB83}" dt="2021-12-09T18:49:40.359" v="6263" actId="1076"/>
          <ac:picMkLst>
            <pc:docMk/>
            <pc:sldMk cId="1974165986" sldId="2145705517"/>
            <ac:picMk id="7170" creationId="{5A205128-794B-FB45-BB7A-F56DAAEAB781}"/>
          </ac:picMkLst>
        </pc:picChg>
      </pc:sldChg>
      <pc:sldChg chg="addSp delSp modSp add del mod">
        <pc:chgData name="Juan Chacon Leon" userId="a5ea4cd5-abd8-4ce9-8acf-c5bb0e457165" providerId="ADAL" clId="{94D6BE0C-839B-D449-98E3-22CFD969AB83}" dt="2021-12-08T19:08:31.317" v="3285" actId="2696"/>
        <pc:sldMkLst>
          <pc:docMk/>
          <pc:sldMk cId="928694749" sldId="2145705518"/>
        </pc:sldMkLst>
        <pc:spChg chg="mod">
          <ac:chgData name="Juan Chacon Leon" userId="a5ea4cd5-abd8-4ce9-8acf-c5bb0e457165" providerId="ADAL" clId="{94D6BE0C-839B-D449-98E3-22CFD969AB83}" dt="2021-12-06T07:11:19.292" v="835" actId="20577"/>
          <ac:spMkLst>
            <pc:docMk/>
            <pc:sldMk cId="928694749" sldId="2145705518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6T07:11:25.241" v="836" actId="478"/>
          <ac:spMkLst>
            <pc:docMk/>
            <pc:sldMk cId="928694749" sldId="2145705518"/>
            <ac:spMk id="3" creationId="{3848DC82-D943-8E4D-AC48-93C1B0566C3A}"/>
          </ac:spMkLst>
        </pc:spChg>
        <pc:spChg chg="add mod">
          <ac:chgData name="Juan Chacon Leon" userId="a5ea4cd5-abd8-4ce9-8acf-c5bb0e457165" providerId="ADAL" clId="{94D6BE0C-839B-D449-98E3-22CFD969AB83}" dt="2021-12-08T18:18:46.035" v="2717" actId="1076"/>
          <ac:spMkLst>
            <pc:docMk/>
            <pc:sldMk cId="928694749" sldId="2145705518"/>
            <ac:spMk id="3" creationId="{446B41EF-2F9F-7348-AF64-8D1398C89C94}"/>
          </ac:spMkLst>
        </pc:spChg>
        <pc:spChg chg="del mod">
          <ac:chgData name="Juan Chacon Leon" userId="a5ea4cd5-abd8-4ce9-8acf-c5bb0e457165" providerId="ADAL" clId="{94D6BE0C-839B-D449-98E3-22CFD969AB83}" dt="2021-12-08T18:21:30.333" v="2718" actId="478"/>
          <ac:spMkLst>
            <pc:docMk/>
            <pc:sldMk cId="928694749" sldId="2145705518"/>
            <ac:spMk id="4" creationId="{E43937C0-8459-D940-AAD2-43B9A0E9DA69}"/>
          </ac:spMkLst>
        </pc:spChg>
        <pc:spChg chg="del mod">
          <ac:chgData name="Juan Chacon Leon" userId="a5ea4cd5-abd8-4ce9-8acf-c5bb0e457165" providerId="ADAL" clId="{94D6BE0C-839B-D449-98E3-22CFD969AB83}" dt="2021-12-08T18:21:33.466" v="2719" actId="478"/>
          <ac:spMkLst>
            <pc:docMk/>
            <pc:sldMk cId="928694749" sldId="2145705518"/>
            <ac:spMk id="6" creationId="{7AF8F7CD-0F96-1443-91A7-BE6C9172D6CB}"/>
          </ac:spMkLst>
        </pc:spChg>
        <pc:spChg chg="del mod">
          <ac:chgData name="Juan Chacon Leon" userId="a5ea4cd5-abd8-4ce9-8acf-c5bb0e457165" providerId="ADAL" clId="{94D6BE0C-839B-D449-98E3-22CFD969AB83}" dt="2021-12-08T18:21:33.466" v="2719" actId="478"/>
          <ac:spMkLst>
            <pc:docMk/>
            <pc:sldMk cId="928694749" sldId="2145705518"/>
            <ac:spMk id="7" creationId="{9BDE1DD1-464A-FF4A-A76E-4922541C1297}"/>
          </ac:spMkLst>
        </pc:spChg>
        <pc:spChg chg="del mod">
          <ac:chgData name="Juan Chacon Leon" userId="a5ea4cd5-abd8-4ce9-8acf-c5bb0e457165" providerId="ADAL" clId="{94D6BE0C-839B-D449-98E3-22CFD969AB83}" dt="2021-12-08T18:21:33.466" v="2719" actId="478"/>
          <ac:spMkLst>
            <pc:docMk/>
            <pc:sldMk cId="928694749" sldId="2145705518"/>
            <ac:spMk id="8" creationId="{3DBC6458-C5D9-CE4E-8B7B-23F98F56A716}"/>
          </ac:spMkLst>
        </pc:spChg>
        <pc:spChg chg="add mod">
          <ac:chgData name="Juan Chacon Leon" userId="a5ea4cd5-abd8-4ce9-8acf-c5bb0e457165" providerId="ADAL" clId="{94D6BE0C-839B-D449-98E3-22CFD969AB83}" dt="2021-12-08T18:29:52.053" v="2806" actId="1076"/>
          <ac:spMkLst>
            <pc:docMk/>
            <pc:sldMk cId="928694749" sldId="2145705518"/>
            <ac:spMk id="9" creationId="{9496876B-D230-5643-BED1-8A0A60EBF2C9}"/>
          </ac:spMkLst>
        </pc:spChg>
        <pc:spChg chg="add mod">
          <ac:chgData name="Juan Chacon Leon" userId="a5ea4cd5-abd8-4ce9-8acf-c5bb0e457165" providerId="ADAL" clId="{94D6BE0C-839B-D449-98E3-22CFD969AB83}" dt="2021-12-08T18:30:25.384" v="2807" actId="1076"/>
          <ac:spMkLst>
            <pc:docMk/>
            <pc:sldMk cId="928694749" sldId="2145705518"/>
            <ac:spMk id="10" creationId="{61A74E55-8624-394A-86C5-6B70CBC342AE}"/>
          </ac:spMkLst>
        </pc:spChg>
        <pc:spChg chg="add mod">
          <ac:chgData name="Juan Chacon Leon" userId="a5ea4cd5-abd8-4ce9-8acf-c5bb0e457165" providerId="ADAL" clId="{94D6BE0C-839B-D449-98E3-22CFD969AB83}" dt="2021-12-08T18:41:36.949" v="2905" actId="1076"/>
          <ac:spMkLst>
            <pc:docMk/>
            <pc:sldMk cId="928694749" sldId="2145705518"/>
            <ac:spMk id="11" creationId="{6A3613CA-9E82-464D-990B-34F9F1929451}"/>
          </ac:spMkLst>
        </pc:spChg>
        <pc:spChg chg="add del mod">
          <ac:chgData name="Juan Chacon Leon" userId="a5ea4cd5-abd8-4ce9-8acf-c5bb0e457165" providerId="ADAL" clId="{94D6BE0C-839B-D449-98E3-22CFD969AB83}" dt="2021-12-08T18:16:37.738" v="2685"/>
          <ac:spMkLst>
            <pc:docMk/>
            <pc:sldMk cId="928694749" sldId="2145705518"/>
            <ac:spMk id="12" creationId="{CCA7F8A1-6A59-2441-9A29-DB508323CEC8}"/>
          </ac:spMkLst>
        </pc:spChg>
        <pc:spChg chg="add mod">
          <ac:chgData name="Juan Chacon Leon" userId="a5ea4cd5-abd8-4ce9-8acf-c5bb0e457165" providerId="ADAL" clId="{94D6BE0C-839B-D449-98E3-22CFD969AB83}" dt="2021-12-08T18:18:37.931" v="2716" actId="1076"/>
          <ac:spMkLst>
            <pc:docMk/>
            <pc:sldMk cId="928694749" sldId="2145705518"/>
            <ac:spMk id="13" creationId="{F46E4F08-A68E-B943-9045-AFBA1248C3AE}"/>
          </ac:spMkLst>
        </pc:spChg>
        <pc:spChg chg="add del mod">
          <ac:chgData name="Juan Chacon Leon" userId="a5ea4cd5-abd8-4ce9-8acf-c5bb0e457165" providerId="ADAL" clId="{94D6BE0C-839B-D449-98E3-22CFD969AB83}" dt="2021-12-08T18:24:37.785" v="2738"/>
          <ac:spMkLst>
            <pc:docMk/>
            <pc:sldMk cId="928694749" sldId="2145705518"/>
            <ac:spMk id="16" creationId="{3C1AD277-F929-1149-8733-C3C42813CC0E}"/>
          </ac:spMkLst>
        </pc:spChg>
        <pc:spChg chg="add mod">
          <ac:chgData name="Juan Chacon Leon" userId="a5ea4cd5-abd8-4ce9-8acf-c5bb0e457165" providerId="ADAL" clId="{94D6BE0C-839B-D449-98E3-22CFD969AB83}" dt="2021-12-08T18:29:42.502" v="2805" actId="1076"/>
          <ac:spMkLst>
            <pc:docMk/>
            <pc:sldMk cId="928694749" sldId="2145705518"/>
            <ac:spMk id="18" creationId="{CCE04F5F-410C-544E-8280-A63FE7D74A53}"/>
          </ac:spMkLst>
        </pc:spChg>
        <pc:spChg chg="add mod">
          <ac:chgData name="Juan Chacon Leon" userId="a5ea4cd5-abd8-4ce9-8acf-c5bb0e457165" providerId="ADAL" clId="{94D6BE0C-839B-D449-98E3-22CFD969AB83}" dt="2021-12-08T18:29:37.358" v="2804" actId="1076"/>
          <ac:spMkLst>
            <pc:docMk/>
            <pc:sldMk cId="928694749" sldId="2145705518"/>
            <ac:spMk id="19" creationId="{6B31CFBF-0C8F-DB4A-B82F-390A4B2B6BC1}"/>
          </ac:spMkLst>
        </pc:spChg>
        <pc:spChg chg="add mod">
          <ac:chgData name="Juan Chacon Leon" userId="a5ea4cd5-abd8-4ce9-8acf-c5bb0e457165" providerId="ADAL" clId="{94D6BE0C-839B-D449-98E3-22CFD969AB83}" dt="2021-12-08T18:29:29.388" v="2798" actId="1076"/>
          <ac:spMkLst>
            <pc:docMk/>
            <pc:sldMk cId="928694749" sldId="2145705518"/>
            <ac:spMk id="21" creationId="{6FAEBB38-8915-C949-9F71-A2499E01BA58}"/>
          </ac:spMkLst>
        </pc:spChg>
        <pc:picChg chg="add mod">
          <ac:chgData name="Juan Chacon Leon" userId="a5ea4cd5-abd8-4ce9-8acf-c5bb0e457165" providerId="ADAL" clId="{94D6BE0C-839B-D449-98E3-22CFD969AB83}" dt="2021-12-08T18:18:46.035" v="2717" actId="1076"/>
          <ac:picMkLst>
            <pc:docMk/>
            <pc:sldMk cId="928694749" sldId="2145705518"/>
            <ac:picMk id="5" creationId="{513F477C-3967-AC43-A7DF-7B43A35073FB}"/>
          </ac:picMkLst>
        </pc:picChg>
        <pc:picChg chg="del">
          <ac:chgData name="Juan Chacon Leon" userId="a5ea4cd5-abd8-4ce9-8acf-c5bb0e457165" providerId="ADAL" clId="{94D6BE0C-839B-D449-98E3-22CFD969AB83}" dt="2021-12-06T07:11:25.241" v="836" actId="478"/>
          <ac:picMkLst>
            <pc:docMk/>
            <pc:sldMk cId="928694749" sldId="2145705518"/>
            <ac:picMk id="5" creationId="{D19C2B49-CCDD-AC4B-8229-231D47D8DA4C}"/>
          </ac:picMkLst>
        </pc:picChg>
        <pc:picChg chg="add mod">
          <ac:chgData name="Juan Chacon Leon" userId="a5ea4cd5-abd8-4ce9-8acf-c5bb0e457165" providerId="ADAL" clId="{94D6BE0C-839B-D449-98E3-22CFD969AB83}" dt="2021-12-08T18:18:37.931" v="2716" actId="1076"/>
          <ac:picMkLst>
            <pc:docMk/>
            <pc:sldMk cId="928694749" sldId="2145705518"/>
            <ac:picMk id="14" creationId="{708CB012-DF0D-D342-B395-4358CD6F93C6}"/>
          </ac:picMkLst>
        </pc:picChg>
        <pc:picChg chg="add mod">
          <ac:chgData name="Juan Chacon Leon" userId="a5ea4cd5-abd8-4ce9-8acf-c5bb0e457165" providerId="ADAL" clId="{94D6BE0C-839B-D449-98E3-22CFD969AB83}" dt="2021-12-08T18:23:25.788" v="2724" actId="1076"/>
          <ac:picMkLst>
            <pc:docMk/>
            <pc:sldMk cId="928694749" sldId="2145705518"/>
            <ac:picMk id="15" creationId="{43F4C96B-1B7A-2345-8C9D-50419E2E37A6}"/>
          </ac:picMkLst>
        </pc:picChg>
      </pc:sldChg>
      <pc:sldChg chg="new del">
        <pc:chgData name="Juan Chacon Leon" userId="a5ea4cd5-abd8-4ce9-8acf-c5bb0e457165" providerId="ADAL" clId="{94D6BE0C-839B-D449-98E3-22CFD969AB83}" dt="2021-12-06T07:13:20.183" v="924" actId="2696"/>
        <pc:sldMkLst>
          <pc:docMk/>
          <pc:sldMk cId="3024648359" sldId="2145705519"/>
        </pc:sldMkLst>
      </pc:sldChg>
      <pc:sldChg chg="addSp delSp modSp add mod">
        <pc:chgData name="Juan Chacon Leon" userId="a5ea4cd5-abd8-4ce9-8acf-c5bb0e457165" providerId="ADAL" clId="{94D6BE0C-839B-D449-98E3-22CFD969AB83}" dt="2021-12-09T17:00:22.215" v="6019" actId="1076"/>
        <pc:sldMkLst>
          <pc:docMk/>
          <pc:sldMk cId="3857294805" sldId="2145705520"/>
        </pc:sldMkLst>
        <pc:spChg chg="mod">
          <ac:chgData name="Juan Chacon Leon" userId="a5ea4cd5-abd8-4ce9-8acf-c5bb0e457165" providerId="ADAL" clId="{94D6BE0C-839B-D449-98E3-22CFD969AB83}" dt="2021-12-09T17:00:22.215" v="6019" actId="1076"/>
          <ac:spMkLst>
            <pc:docMk/>
            <pc:sldMk cId="3857294805" sldId="2145705520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6T07:14:02.393" v="981"/>
          <ac:spMkLst>
            <pc:docMk/>
            <pc:sldMk cId="3857294805" sldId="2145705520"/>
            <ac:spMk id="3" creationId="{97B750BB-3B91-5C4E-ADF9-85BA96633DBE}"/>
          </ac:spMkLst>
        </pc:spChg>
        <pc:spChg chg="add mod">
          <ac:chgData name="Juan Chacon Leon" userId="a5ea4cd5-abd8-4ce9-8acf-c5bb0e457165" providerId="ADAL" clId="{94D6BE0C-839B-D449-98E3-22CFD969AB83}" dt="2021-12-07T07:03:56.892" v="1521" actId="1076"/>
          <ac:spMkLst>
            <pc:docMk/>
            <pc:sldMk cId="3857294805" sldId="2145705520"/>
            <ac:spMk id="4" creationId="{461AD72B-5781-5042-A7CC-7DA554A5A1A3}"/>
          </ac:spMkLst>
        </pc:spChg>
        <pc:spChg chg="mod">
          <ac:chgData name="Juan Chacon Leon" userId="a5ea4cd5-abd8-4ce9-8acf-c5bb0e457165" providerId="ADAL" clId="{94D6BE0C-839B-D449-98E3-22CFD969AB83}" dt="2021-12-07T07:06:05.628" v="1659" actId="20577"/>
          <ac:spMkLst>
            <pc:docMk/>
            <pc:sldMk cId="3857294805" sldId="2145705520"/>
            <ac:spMk id="7" creationId="{CB319EE0-CFC0-0549-9D7B-26E97507CC9C}"/>
          </ac:spMkLst>
        </pc:spChg>
        <pc:spChg chg="add del">
          <ac:chgData name="Juan Chacon Leon" userId="a5ea4cd5-abd8-4ce9-8acf-c5bb0e457165" providerId="ADAL" clId="{94D6BE0C-839B-D449-98E3-22CFD969AB83}" dt="2021-12-07T07:00:14.313" v="1429" actId="22"/>
          <ac:spMkLst>
            <pc:docMk/>
            <pc:sldMk cId="3857294805" sldId="2145705520"/>
            <ac:spMk id="11" creationId="{80AD81BB-96B6-6343-A336-5A7248ED2649}"/>
          </ac:spMkLst>
        </pc:spChg>
        <pc:picChg chg="add mod">
          <ac:chgData name="Juan Chacon Leon" userId="a5ea4cd5-abd8-4ce9-8acf-c5bb0e457165" providerId="ADAL" clId="{94D6BE0C-839B-D449-98E3-22CFD969AB83}" dt="2021-12-07T07:00:04.965" v="1427" actId="1076"/>
          <ac:picMkLst>
            <pc:docMk/>
            <pc:sldMk cId="3857294805" sldId="2145705520"/>
            <ac:picMk id="3" creationId="{F758DB5D-6B20-F045-AA5D-87DEC88E8C11}"/>
          </ac:picMkLst>
        </pc:picChg>
        <pc:picChg chg="add mod">
          <ac:chgData name="Juan Chacon Leon" userId="a5ea4cd5-abd8-4ce9-8acf-c5bb0e457165" providerId="ADAL" clId="{94D6BE0C-839B-D449-98E3-22CFD969AB83}" dt="2021-12-07T07:01:05.187" v="1436" actId="1076"/>
          <ac:picMkLst>
            <pc:docMk/>
            <pc:sldMk cId="3857294805" sldId="2145705520"/>
            <ac:picMk id="5122" creationId="{60DE907D-AA0A-9C40-88E7-E36BF18D50F1}"/>
          </ac:picMkLst>
        </pc:picChg>
        <pc:picChg chg="add mod">
          <ac:chgData name="Juan Chacon Leon" userId="a5ea4cd5-abd8-4ce9-8acf-c5bb0e457165" providerId="ADAL" clId="{94D6BE0C-839B-D449-98E3-22CFD969AB83}" dt="2021-12-07T07:01:05.187" v="1436" actId="1076"/>
          <ac:picMkLst>
            <pc:docMk/>
            <pc:sldMk cId="3857294805" sldId="2145705520"/>
            <ac:picMk id="5124" creationId="{021BF4AE-EB2F-8948-B5AA-489EF93EBA0F}"/>
          </ac:picMkLst>
        </pc:picChg>
        <pc:picChg chg="del">
          <ac:chgData name="Juan Chacon Leon" userId="a5ea4cd5-abd8-4ce9-8acf-c5bb0e457165" providerId="ADAL" clId="{94D6BE0C-839B-D449-98E3-22CFD969AB83}" dt="2021-12-07T06:57:43.925" v="1412" actId="478"/>
          <ac:picMkLst>
            <pc:docMk/>
            <pc:sldMk cId="3857294805" sldId="2145705520"/>
            <ac:picMk id="5126" creationId="{287C27EA-5C22-1343-AE05-F5508642921A}"/>
          </ac:picMkLst>
        </pc:picChg>
        <pc:picChg chg="add mod">
          <ac:chgData name="Juan Chacon Leon" userId="a5ea4cd5-abd8-4ce9-8acf-c5bb0e457165" providerId="ADAL" clId="{94D6BE0C-839B-D449-98E3-22CFD969AB83}" dt="2021-12-07T07:00:31.012" v="1431" actId="1076"/>
          <ac:picMkLst>
            <pc:docMk/>
            <pc:sldMk cId="3857294805" sldId="2145705520"/>
            <ac:picMk id="5128" creationId="{99FC2DAB-01F0-AF41-939C-D11CBA1AAD0B}"/>
          </ac:picMkLst>
        </pc:picChg>
        <pc:picChg chg="del">
          <ac:chgData name="Juan Chacon Leon" userId="a5ea4cd5-abd8-4ce9-8acf-c5bb0e457165" providerId="ADAL" clId="{94D6BE0C-839B-D449-98E3-22CFD969AB83}" dt="2021-12-07T06:57:45.673" v="1413" actId="478"/>
          <ac:picMkLst>
            <pc:docMk/>
            <pc:sldMk cId="3857294805" sldId="2145705520"/>
            <ac:picMk id="10252" creationId="{E301621C-2F57-FE4D-AA24-1F8BB8EDF1F9}"/>
          </ac:picMkLst>
        </pc:picChg>
      </pc:sldChg>
      <pc:sldChg chg="addSp delSp modSp add mod ord">
        <pc:chgData name="Juan Chacon Leon" userId="a5ea4cd5-abd8-4ce9-8acf-c5bb0e457165" providerId="ADAL" clId="{94D6BE0C-839B-D449-98E3-22CFD969AB83}" dt="2021-12-09T17:01:22.754" v="6022" actId="1035"/>
        <pc:sldMkLst>
          <pc:docMk/>
          <pc:sldMk cId="1098054596" sldId="2145705521"/>
        </pc:sldMkLst>
        <pc:spChg chg="mod">
          <ac:chgData name="Juan Chacon Leon" userId="a5ea4cd5-abd8-4ce9-8acf-c5bb0e457165" providerId="ADAL" clId="{94D6BE0C-839B-D449-98E3-22CFD969AB83}" dt="2021-12-09T17:01:22.754" v="6022" actId="1035"/>
          <ac:spMkLst>
            <pc:docMk/>
            <pc:sldMk cId="1098054596" sldId="2145705521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6T07:15:38.872" v="1116" actId="478"/>
          <ac:spMkLst>
            <pc:docMk/>
            <pc:sldMk cId="1098054596" sldId="2145705521"/>
            <ac:spMk id="3" creationId="{F2A1122B-4152-6A42-888F-0E5DC2DB0423}"/>
          </ac:spMkLst>
        </pc:spChg>
        <pc:spChg chg="add del mod">
          <ac:chgData name="Juan Chacon Leon" userId="a5ea4cd5-abd8-4ce9-8acf-c5bb0e457165" providerId="ADAL" clId="{94D6BE0C-839B-D449-98E3-22CFD969AB83}" dt="2021-12-08T20:51:34.310" v="4750"/>
          <ac:spMkLst>
            <pc:docMk/>
            <pc:sldMk cId="1098054596" sldId="2145705521"/>
            <ac:spMk id="3" creationId="{F8366F20-AA89-8A4C-B98C-E065FA716764}"/>
          </ac:spMkLst>
        </pc:spChg>
        <pc:spChg chg="add del mod">
          <ac:chgData name="Juan Chacon Leon" userId="a5ea4cd5-abd8-4ce9-8acf-c5bb0e457165" providerId="ADAL" clId="{94D6BE0C-839B-D449-98E3-22CFD969AB83}" dt="2021-12-08T20:52:29.583" v="4782" actId="478"/>
          <ac:spMkLst>
            <pc:docMk/>
            <pc:sldMk cId="1098054596" sldId="2145705521"/>
            <ac:spMk id="4" creationId="{591BBFE3-511F-EC49-ADC9-AEDA99829644}"/>
          </ac:spMkLst>
        </pc:spChg>
        <pc:spChg chg="del">
          <ac:chgData name="Juan Chacon Leon" userId="a5ea4cd5-abd8-4ce9-8acf-c5bb0e457165" providerId="ADAL" clId="{94D6BE0C-839B-D449-98E3-22CFD969AB83}" dt="2021-12-06T07:15:38.872" v="1116" actId="478"/>
          <ac:spMkLst>
            <pc:docMk/>
            <pc:sldMk cId="1098054596" sldId="2145705521"/>
            <ac:spMk id="4" creationId="{EA5D29D3-0991-B143-A59F-3D6133209763}"/>
          </ac:spMkLst>
        </pc:spChg>
        <pc:spChg chg="add del mod">
          <ac:chgData name="Juan Chacon Leon" userId="a5ea4cd5-abd8-4ce9-8acf-c5bb0e457165" providerId="ADAL" clId="{94D6BE0C-839B-D449-98E3-22CFD969AB83}" dt="2021-12-06T07:17:28.703" v="1271"/>
          <ac:spMkLst>
            <pc:docMk/>
            <pc:sldMk cId="1098054596" sldId="2145705521"/>
            <ac:spMk id="5" creationId="{C5D32BB9-099E-9840-A552-1CE2DA0BE287}"/>
          </ac:spMkLst>
        </pc:spChg>
        <pc:spChg chg="del">
          <ac:chgData name="Juan Chacon Leon" userId="a5ea4cd5-abd8-4ce9-8acf-c5bb0e457165" providerId="ADAL" clId="{94D6BE0C-839B-D449-98E3-22CFD969AB83}" dt="2021-12-06T07:15:38.872" v="1116" actId="478"/>
          <ac:spMkLst>
            <pc:docMk/>
            <pc:sldMk cId="1098054596" sldId="2145705521"/>
            <ac:spMk id="6" creationId="{1CCADA2A-ACB6-534A-B007-3485BEC0C9D1}"/>
          </ac:spMkLst>
        </pc:spChg>
        <pc:spChg chg="add del mod">
          <ac:chgData name="Juan Chacon Leon" userId="a5ea4cd5-abd8-4ce9-8acf-c5bb0e457165" providerId="ADAL" clId="{94D6BE0C-839B-D449-98E3-22CFD969AB83}" dt="2021-12-08T23:39:29.436" v="5450" actId="478"/>
          <ac:spMkLst>
            <pc:docMk/>
            <pc:sldMk cId="1098054596" sldId="2145705521"/>
            <ac:spMk id="6" creationId="{B2D7EC55-7AFB-9B44-9078-D8FF2E4075FA}"/>
          </ac:spMkLst>
        </pc:spChg>
        <pc:spChg chg="add del mod">
          <ac:chgData name="Juan Chacon Leon" userId="a5ea4cd5-abd8-4ce9-8acf-c5bb0e457165" providerId="ADAL" clId="{94D6BE0C-839B-D449-98E3-22CFD969AB83}" dt="2021-12-06T07:17:16.706" v="1260" actId="478"/>
          <ac:spMkLst>
            <pc:docMk/>
            <pc:sldMk cId="1098054596" sldId="2145705521"/>
            <ac:spMk id="7" creationId="{94C63166-D7C6-5B4C-ABC1-B3F7358406E6}"/>
          </ac:spMkLst>
        </pc:spChg>
        <pc:spChg chg="add mod">
          <ac:chgData name="Juan Chacon Leon" userId="a5ea4cd5-abd8-4ce9-8acf-c5bb0e457165" providerId="ADAL" clId="{94D6BE0C-839B-D449-98E3-22CFD969AB83}" dt="2021-12-08T23:36:33.664" v="5436" actId="255"/>
          <ac:spMkLst>
            <pc:docMk/>
            <pc:sldMk cId="1098054596" sldId="2145705521"/>
            <ac:spMk id="8" creationId="{53970630-D9F8-4544-9B2E-B72266684F33}"/>
          </ac:spMkLst>
        </pc:spChg>
        <pc:spChg chg="add del mod">
          <ac:chgData name="Juan Chacon Leon" userId="a5ea4cd5-abd8-4ce9-8acf-c5bb0e457165" providerId="ADAL" clId="{94D6BE0C-839B-D449-98E3-22CFD969AB83}" dt="2021-12-08T23:44:45.718" v="5642" actId="478"/>
          <ac:spMkLst>
            <pc:docMk/>
            <pc:sldMk cId="1098054596" sldId="2145705521"/>
            <ac:spMk id="9" creationId="{0B2B70A2-7FA5-2247-AE5E-B7F1260DE6E8}"/>
          </ac:spMkLst>
        </pc:spChg>
        <pc:spChg chg="add del mod">
          <ac:chgData name="Juan Chacon Leon" userId="a5ea4cd5-abd8-4ce9-8acf-c5bb0e457165" providerId="ADAL" clId="{94D6BE0C-839B-D449-98E3-22CFD969AB83}" dt="2021-12-08T23:44:45.718" v="5642" actId="478"/>
          <ac:spMkLst>
            <pc:docMk/>
            <pc:sldMk cId="1098054596" sldId="2145705521"/>
            <ac:spMk id="10" creationId="{51081F73-BDED-6B40-BDE4-BAF90316FCA4}"/>
          </ac:spMkLst>
        </pc:spChg>
        <pc:spChg chg="add del mod">
          <ac:chgData name="Juan Chacon Leon" userId="a5ea4cd5-abd8-4ce9-8acf-c5bb0e457165" providerId="ADAL" clId="{94D6BE0C-839B-D449-98E3-22CFD969AB83}" dt="2021-12-08T23:44:45.718" v="5642" actId="478"/>
          <ac:spMkLst>
            <pc:docMk/>
            <pc:sldMk cId="1098054596" sldId="2145705521"/>
            <ac:spMk id="11" creationId="{7E22121E-2052-6D44-81D9-5CCCEBD2C7AE}"/>
          </ac:spMkLst>
        </pc:spChg>
        <pc:spChg chg="add del mod">
          <ac:chgData name="Juan Chacon Leon" userId="a5ea4cd5-abd8-4ce9-8acf-c5bb0e457165" providerId="ADAL" clId="{94D6BE0C-839B-D449-98E3-22CFD969AB83}" dt="2021-12-08T20:52:29.583" v="4782" actId="478"/>
          <ac:spMkLst>
            <pc:docMk/>
            <pc:sldMk cId="1098054596" sldId="2145705521"/>
            <ac:spMk id="13" creationId="{E27BD6B8-5BE1-5745-B920-31EE40E4AFF3}"/>
          </ac:spMkLst>
        </pc:spChg>
        <pc:spChg chg="add del">
          <ac:chgData name="Juan Chacon Leon" userId="a5ea4cd5-abd8-4ce9-8acf-c5bb0e457165" providerId="ADAL" clId="{94D6BE0C-839B-D449-98E3-22CFD969AB83}" dt="2021-12-08T22:58:51.383" v="4890" actId="22"/>
          <ac:spMkLst>
            <pc:docMk/>
            <pc:sldMk cId="1098054596" sldId="2145705521"/>
            <ac:spMk id="14" creationId="{36F46DE0-39A6-794B-8588-4D8AAD7FDE30}"/>
          </ac:spMkLst>
        </pc:spChg>
        <pc:spChg chg="add del mod">
          <ac:chgData name="Juan Chacon Leon" userId="a5ea4cd5-abd8-4ce9-8acf-c5bb0e457165" providerId="ADAL" clId="{94D6BE0C-839B-D449-98E3-22CFD969AB83}" dt="2021-12-08T23:44:45.718" v="5642" actId="478"/>
          <ac:spMkLst>
            <pc:docMk/>
            <pc:sldMk cId="1098054596" sldId="2145705521"/>
            <ac:spMk id="15" creationId="{5E4C787C-F03D-6148-901E-7E950A89CE6C}"/>
          </ac:spMkLst>
        </pc:spChg>
        <pc:spChg chg="add del mod">
          <ac:chgData name="Juan Chacon Leon" userId="a5ea4cd5-abd8-4ce9-8acf-c5bb0e457165" providerId="ADAL" clId="{94D6BE0C-839B-D449-98E3-22CFD969AB83}" dt="2021-12-08T23:44:55.998" v="5643" actId="478"/>
          <ac:spMkLst>
            <pc:docMk/>
            <pc:sldMk cId="1098054596" sldId="2145705521"/>
            <ac:spMk id="16" creationId="{E39CC84C-9046-9C45-B8A9-95C42C4416F0}"/>
          </ac:spMkLst>
        </pc:spChg>
        <pc:picChg chg="add del mod">
          <ac:chgData name="Juan Chacon Leon" userId="a5ea4cd5-abd8-4ce9-8acf-c5bb0e457165" providerId="ADAL" clId="{94D6BE0C-839B-D449-98E3-22CFD969AB83}" dt="2021-12-08T20:52:05.307" v="4779"/>
          <ac:picMkLst>
            <pc:docMk/>
            <pc:sldMk cId="1098054596" sldId="2145705521"/>
            <ac:picMk id="12" creationId="{5CDAA56E-DB9D-1747-8EE9-6DC736726041}"/>
          </ac:picMkLst>
        </pc:picChg>
        <pc:picChg chg="add mod">
          <ac:chgData name="Juan Chacon Leon" userId="a5ea4cd5-abd8-4ce9-8acf-c5bb0e457165" providerId="ADAL" clId="{94D6BE0C-839B-D449-98E3-22CFD969AB83}" dt="2021-12-08T23:45:09.953" v="5646" actId="1076"/>
          <ac:picMkLst>
            <pc:docMk/>
            <pc:sldMk cId="1098054596" sldId="2145705521"/>
            <ac:picMk id="32770" creationId="{A7DA399B-B56D-DD42-90A2-167701F710FD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7:16:08.636" v="6051"/>
        <pc:sldMkLst>
          <pc:docMk/>
          <pc:sldMk cId="98378444" sldId="2145705522"/>
        </pc:sldMkLst>
        <pc:spChg chg="del mod">
          <ac:chgData name="Juan Chacon Leon" userId="a5ea4cd5-abd8-4ce9-8acf-c5bb0e457165" providerId="ADAL" clId="{94D6BE0C-839B-D449-98E3-22CFD969AB83}" dt="2021-12-09T17:16:05.770" v="6049" actId="478"/>
          <ac:spMkLst>
            <pc:docMk/>
            <pc:sldMk cId="98378444" sldId="2145705522"/>
            <ac:spMk id="2" creationId="{26A69818-8071-0643-B8D6-170338131EDE}"/>
          </ac:spMkLst>
        </pc:spChg>
        <pc:spChg chg="del mod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4" creationId="{E43937C0-8459-D940-AAD2-43B9A0E9DA69}"/>
          </ac:spMkLst>
        </pc:spChg>
        <pc:spChg chg="add del mod">
          <ac:chgData name="Juan Chacon Leon" userId="a5ea4cd5-abd8-4ce9-8acf-c5bb0e457165" providerId="ADAL" clId="{94D6BE0C-839B-D449-98E3-22CFD969AB83}" dt="2021-12-09T17:16:07.681" v="6050" actId="478"/>
          <ac:spMkLst>
            <pc:docMk/>
            <pc:sldMk cId="98378444" sldId="2145705522"/>
            <ac:spMk id="4" creationId="{E4AF8A84-AFEB-6340-9441-0C82E592EDF8}"/>
          </ac:spMkLst>
        </pc:spChg>
        <pc:spChg chg="del">
          <ac:chgData name="Juan Chacon Leon" userId="a5ea4cd5-abd8-4ce9-8acf-c5bb0e457165" providerId="ADAL" clId="{94D6BE0C-839B-D449-98E3-22CFD969AB83}" dt="2021-12-08T18:05:21.826" v="2666" actId="478"/>
          <ac:spMkLst>
            <pc:docMk/>
            <pc:sldMk cId="98378444" sldId="2145705522"/>
            <ac:spMk id="6" creationId="{7AF8F7CD-0F96-1443-91A7-BE6C9172D6CB}"/>
          </ac:spMkLst>
        </pc:spChg>
        <pc:spChg chg="add mod">
          <ac:chgData name="Juan Chacon Leon" userId="a5ea4cd5-abd8-4ce9-8acf-c5bb0e457165" providerId="ADAL" clId="{94D6BE0C-839B-D449-98E3-22CFD969AB83}" dt="2021-12-09T17:16:08.636" v="6051"/>
          <ac:spMkLst>
            <pc:docMk/>
            <pc:sldMk cId="98378444" sldId="2145705522"/>
            <ac:spMk id="6" creationId="{D77EC628-9AFE-E845-8FC5-5CAF8D6E1090}"/>
          </ac:spMkLst>
        </pc:spChg>
        <pc:spChg chg="del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7" creationId="{9BDE1DD1-464A-FF4A-A76E-4922541C1297}"/>
          </ac:spMkLst>
        </pc:spChg>
        <pc:spChg chg="del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8" creationId="{3DBC6458-C5D9-CE4E-8B7B-23F98F56A716}"/>
          </ac:spMkLst>
        </pc:spChg>
        <pc:spChg chg="del">
          <ac:chgData name="Juan Chacon Leon" userId="a5ea4cd5-abd8-4ce9-8acf-c5bb0e457165" providerId="ADAL" clId="{94D6BE0C-839B-D449-98E3-22CFD969AB83}" dt="2021-12-08T18:05:21.826" v="2666" actId="478"/>
          <ac:spMkLst>
            <pc:docMk/>
            <pc:sldMk cId="98378444" sldId="2145705522"/>
            <ac:spMk id="17" creationId="{3C779E13-DCBF-EC48-92F4-9AA1A145D972}"/>
          </ac:spMkLst>
        </pc:spChg>
        <pc:spChg chg="del">
          <ac:chgData name="Juan Chacon Leon" userId="a5ea4cd5-abd8-4ce9-8acf-c5bb0e457165" providerId="ADAL" clId="{94D6BE0C-839B-D449-98E3-22CFD969AB83}" dt="2021-12-08T18:05:21.826" v="2666" actId="478"/>
          <ac:spMkLst>
            <pc:docMk/>
            <pc:sldMk cId="98378444" sldId="2145705522"/>
            <ac:spMk id="18" creationId="{6C9F7C9D-612F-9043-B7A8-96E6C14D8BE2}"/>
          </ac:spMkLst>
        </pc:spChg>
        <pc:spChg chg="del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22" creationId="{F30ECA8D-72A6-F846-8433-CB3BB8D28B9D}"/>
          </ac:spMkLst>
        </pc:spChg>
        <pc:spChg chg="del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24" creationId="{5DA9CB29-AF6A-B645-94BA-3AB3E77D5297}"/>
          </ac:spMkLst>
        </pc:spChg>
        <pc:picChg chg="del">
          <ac:chgData name="Juan Chacon Leon" userId="a5ea4cd5-abd8-4ce9-8acf-c5bb0e457165" providerId="ADAL" clId="{94D6BE0C-839B-D449-98E3-22CFD969AB83}" dt="2021-12-08T18:05:17.055" v="2665" actId="478"/>
          <ac:picMkLst>
            <pc:docMk/>
            <pc:sldMk cId="98378444" sldId="2145705522"/>
            <ac:picMk id="5138" creationId="{DA42F92B-3A15-124C-82CD-A6FA5A1D5439}"/>
          </ac:picMkLst>
        </pc:picChg>
        <pc:picChg chg="del">
          <ac:chgData name="Juan Chacon Leon" userId="a5ea4cd5-abd8-4ce9-8acf-c5bb0e457165" providerId="ADAL" clId="{94D6BE0C-839B-D449-98E3-22CFD969AB83}" dt="2021-12-08T18:05:17.055" v="2665" actId="478"/>
          <ac:picMkLst>
            <pc:docMk/>
            <pc:sldMk cId="98378444" sldId="2145705522"/>
            <ac:picMk id="5140" creationId="{5D8009B1-0DC8-374C-8B67-8CB36E3F1200}"/>
          </ac:picMkLst>
        </pc:picChg>
        <pc:picChg chg="del">
          <ac:chgData name="Juan Chacon Leon" userId="a5ea4cd5-abd8-4ce9-8acf-c5bb0e457165" providerId="ADAL" clId="{94D6BE0C-839B-D449-98E3-22CFD969AB83}" dt="2021-12-08T18:05:21.826" v="2666" actId="478"/>
          <ac:picMkLst>
            <pc:docMk/>
            <pc:sldMk cId="98378444" sldId="2145705522"/>
            <ac:picMk id="5144" creationId="{DAB904E4-CDC6-9E48-A915-E08DC7111FFD}"/>
          </ac:picMkLst>
        </pc:picChg>
        <pc:picChg chg="del">
          <ac:chgData name="Juan Chacon Leon" userId="a5ea4cd5-abd8-4ce9-8acf-c5bb0e457165" providerId="ADAL" clId="{94D6BE0C-839B-D449-98E3-22CFD969AB83}" dt="2021-12-08T18:05:21.826" v="2666" actId="478"/>
          <ac:picMkLst>
            <pc:docMk/>
            <pc:sldMk cId="98378444" sldId="2145705522"/>
            <ac:picMk id="5146" creationId="{6D517ED8-081E-2946-A40E-19DC36346B7E}"/>
          </ac:picMkLst>
        </pc:picChg>
        <pc:picChg chg="del">
          <ac:chgData name="Juan Chacon Leon" userId="a5ea4cd5-abd8-4ce9-8acf-c5bb0e457165" providerId="ADAL" clId="{94D6BE0C-839B-D449-98E3-22CFD969AB83}" dt="2021-12-08T18:05:21.826" v="2666" actId="478"/>
          <ac:picMkLst>
            <pc:docMk/>
            <pc:sldMk cId="98378444" sldId="2145705522"/>
            <ac:picMk id="5148" creationId="{4A979471-670D-894C-B3F1-EDB828454C6C}"/>
          </ac:picMkLst>
        </pc:picChg>
        <pc:picChg chg="del">
          <ac:chgData name="Juan Chacon Leon" userId="a5ea4cd5-abd8-4ce9-8acf-c5bb0e457165" providerId="ADAL" clId="{94D6BE0C-839B-D449-98E3-22CFD969AB83}" dt="2021-12-08T18:05:17.055" v="2665" actId="478"/>
          <ac:picMkLst>
            <pc:docMk/>
            <pc:sldMk cId="98378444" sldId="2145705522"/>
            <ac:picMk id="5154" creationId="{C43DC09D-2328-F74E-9A0F-4228EE4C34CC}"/>
          </ac:picMkLst>
        </pc:picChg>
        <pc:picChg chg="del">
          <ac:chgData name="Juan Chacon Leon" userId="a5ea4cd5-abd8-4ce9-8acf-c5bb0e457165" providerId="ADAL" clId="{94D6BE0C-839B-D449-98E3-22CFD969AB83}" dt="2021-12-08T18:05:17.055" v="2665" actId="478"/>
          <ac:picMkLst>
            <pc:docMk/>
            <pc:sldMk cId="98378444" sldId="2145705522"/>
            <ac:picMk id="5158" creationId="{FF4683DF-0AEE-2E44-85C1-5E9E324DFA41}"/>
          </ac:picMkLst>
        </pc:picChg>
      </pc:sldChg>
      <pc:sldChg chg="addSp delSp modSp add del mod">
        <pc:chgData name="Juan Chacon Leon" userId="a5ea4cd5-abd8-4ce9-8acf-c5bb0e457165" providerId="ADAL" clId="{94D6BE0C-839B-D449-98E3-22CFD969AB83}" dt="2021-12-07T16:01:35.967" v="2104" actId="2696"/>
        <pc:sldMkLst>
          <pc:docMk/>
          <pc:sldMk cId="2488363242" sldId="2145705522"/>
        </pc:sldMkLst>
        <pc:spChg chg="mod">
          <ac:chgData name="Juan Chacon Leon" userId="a5ea4cd5-abd8-4ce9-8acf-c5bb0e457165" providerId="ADAL" clId="{94D6BE0C-839B-D449-98E3-22CFD969AB83}" dt="2021-12-06T07:19:16.826" v="1411" actId="20577"/>
          <ac:spMkLst>
            <pc:docMk/>
            <pc:sldMk cId="2488363242" sldId="2145705522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6T07:19:02.002" v="1357"/>
          <ac:spMkLst>
            <pc:docMk/>
            <pc:sldMk cId="2488363242" sldId="2145705522"/>
            <ac:spMk id="3" creationId="{735362F2-54D3-4443-AADE-E1247FAB05BE}"/>
          </ac:spMkLst>
        </pc:spChg>
        <pc:spChg chg="del mod">
          <ac:chgData name="Juan Chacon Leon" userId="a5ea4cd5-abd8-4ce9-8acf-c5bb0e457165" providerId="ADAL" clId="{94D6BE0C-839B-D449-98E3-22CFD969AB83}" dt="2021-12-06T07:18:36.507" v="1318" actId="478"/>
          <ac:spMkLst>
            <pc:docMk/>
            <pc:sldMk cId="2488363242" sldId="2145705522"/>
            <ac:spMk id="4" creationId="{E43937C0-8459-D940-AAD2-43B9A0E9DA69}"/>
          </ac:spMkLst>
        </pc:spChg>
        <pc:spChg chg="del">
          <ac:chgData name="Juan Chacon Leon" userId="a5ea4cd5-abd8-4ce9-8acf-c5bb0e457165" providerId="ADAL" clId="{94D6BE0C-839B-D449-98E3-22CFD969AB83}" dt="2021-12-06T07:18:39.511" v="1321" actId="478"/>
          <ac:spMkLst>
            <pc:docMk/>
            <pc:sldMk cId="2488363242" sldId="2145705522"/>
            <ac:spMk id="6" creationId="{7AF8F7CD-0F96-1443-91A7-BE6C9172D6CB}"/>
          </ac:spMkLst>
        </pc:spChg>
        <pc:spChg chg="del">
          <ac:chgData name="Juan Chacon Leon" userId="a5ea4cd5-abd8-4ce9-8acf-c5bb0e457165" providerId="ADAL" clId="{94D6BE0C-839B-D449-98E3-22CFD969AB83}" dt="2021-12-06T07:18:38.626" v="1320" actId="478"/>
          <ac:spMkLst>
            <pc:docMk/>
            <pc:sldMk cId="2488363242" sldId="2145705522"/>
            <ac:spMk id="7" creationId="{9BDE1DD1-464A-FF4A-A76E-4922541C1297}"/>
          </ac:spMkLst>
        </pc:spChg>
        <pc:spChg chg="del">
          <ac:chgData name="Juan Chacon Leon" userId="a5ea4cd5-abd8-4ce9-8acf-c5bb0e457165" providerId="ADAL" clId="{94D6BE0C-839B-D449-98E3-22CFD969AB83}" dt="2021-12-06T07:18:37.368" v="1319" actId="478"/>
          <ac:spMkLst>
            <pc:docMk/>
            <pc:sldMk cId="2488363242" sldId="2145705522"/>
            <ac:spMk id="8" creationId="{3DBC6458-C5D9-CE4E-8B7B-23F98F56A716}"/>
          </ac:spMkLst>
        </pc:spChg>
        <pc:spChg chg="del">
          <ac:chgData name="Juan Chacon Leon" userId="a5ea4cd5-abd8-4ce9-8acf-c5bb0e457165" providerId="ADAL" clId="{94D6BE0C-839B-D449-98E3-22CFD969AB83}" dt="2021-12-06T07:18:40.556" v="1322" actId="478"/>
          <ac:spMkLst>
            <pc:docMk/>
            <pc:sldMk cId="2488363242" sldId="2145705522"/>
            <ac:spMk id="9" creationId="{9496876B-D230-5643-BED1-8A0A60EBF2C9}"/>
          </ac:spMkLst>
        </pc:spChg>
        <pc:spChg chg="del">
          <ac:chgData name="Juan Chacon Leon" userId="a5ea4cd5-abd8-4ce9-8acf-c5bb0e457165" providerId="ADAL" clId="{94D6BE0C-839B-D449-98E3-22CFD969AB83}" dt="2021-12-06T07:18:41.873" v="1323" actId="478"/>
          <ac:spMkLst>
            <pc:docMk/>
            <pc:sldMk cId="2488363242" sldId="2145705522"/>
            <ac:spMk id="10" creationId="{61A74E55-8624-394A-86C5-6B70CBC342AE}"/>
          </ac:spMkLst>
        </pc:spChg>
        <pc:spChg chg="del">
          <ac:chgData name="Juan Chacon Leon" userId="a5ea4cd5-abd8-4ce9-8acf-c5bb0e457165" providerId="ADAL" clId="{94D6BE0C-839B-D449-98E3-22CFD969AB83}" dt="2021-12-06T07:18:43.003" v="1324" actId="478"/>
          <ac:spMkLst>
            <pc:docMk/>
            <pc:sldMk cId="2488363242" sldId="2145705522"/>
            <ac:spMk id="11" creationId="{6A3613CA-9E82-464D-990B-34F9F1929451}"/>
          </ac:spMkLst>
        </pc:spChg>
      </pc:sldChg>
      <pc:sldChg chg="delSp add del ord">
        <pc:chgData name="Juan Chacon Leon" userId="a5ea4cd5-abd8-4ce9-8acf-c5bb0e457165" providerId="ADAL" clId="{94D6BE0C-839B-D449-98E3-22CFD969AB83}" dt="2021-12-07T07:06:49.642" v="1663" actId="2696"/>
        <pc:sldMkLst>
          <pc:docMk/>
          <pc:sldMk cId="1053077414" sldId="2145705523"/>
        </pc:sldMkLst>
        <pc:spChg chg="del">
          <ac:chgData name="Juan Chacon Leon" userId="a5ea4cd5-abd8-4ce9-8acf-c5bb0e457165" providerId="ADAL" clId="{94D6BE0C-839B-D449-98E3-22CFD969AB83}" dt="2021-12-07T07:06:31.898" v="1661" actId="478"/>
          <ac:spMkLst>
            <pc:docMk/>
            <pc:sldMk cId="1053077414" sldId="2145705523"/>
            <ac:spMk id="4" creationId="{461AD72B-5781-5042-A7CC-7DA554A5A1A3}"/>
          </ac:spMkLst>
        </pc:spChg>
        <pc:picChg chg="del">
          <ac:chgData name="Juan Chacon Leon" userId="a5ea4cd5-abd8-4ce9-8acf-c5bb0e457165" providerId="ADAL" clId="{94D6BE0C-839B-D449-98E3-22CFD969AB83}" dt="2021-12-07T07:06:31.898" v="1661" actId="478"/>
          <ac:picMkLst>
            <pc:docMk/>
            <pc:sldMk cId="1053077414" sldId="2145705523"/>
            <ac:picMk id="3" creationId="{F758DB5D-6B20-F045-AA5D-87DEC88E8C11}"/>
          </ac:picMkLst>
        </pc:picChg>
        <pc:picChg chg="del">
          <ac:chgData name="Juan Chacon Leon" userId="a5ea4cd5-abd8-4ce9-8acf-c5bb0e457165" providerId="ADAL" clId="{94D6BE0C-839B-D449-98E3-22CFD969AB83}" dt="2021-12-07T07:06:31.898" v="1661" actId="478"/>
          <ac:picMkLst>
            <pc:docMk/>
            <pc:sldMk cId="1053077414" sldId="2145705523"/>
            <ac:picMk id="5128" creationId="{99FC2DAB-01F0-AF41-939C-D11CBA1AAD0B}"/>
          </ac:picMkLst>
        </pc:picChg>
      </pc:sldChg>
      <pc:sldChg chg="add del">
        <pc:chgData name="Juan Chacon Leon" userId="a5ea4cd5-abd8-4ce9-8acf-c5bb0e457165" providerId="ADAL" clId="{94D6BE0C-839B-D449-98E3-22CFD969AB83}" dt="2021-12-08T18:04:20.811" v="2654" actId="2696"/>
        <pc:sldMkLst>
          <pc:docMk/>
          <pc:sldMk cId="3999732516" sldId="2145705523"/>
        </pc:sldMkLst>
      </pc:sldChg>
      <pc:sldChg chg="addSp delSp modSp add">
        <pc:chgData name="Juan Chacon Leon" userId="a5ea4cd5-abd8-4ce9-8acf-c5bb0e457165" providerId="ADAL" clId="{94D6BE0C-839B-D449-98E3-22CFD969AB83}" dt="2021-12-09T17:16:14.321" v="6054" actId="478"/>
        <pc:sldMkLst>
          <pc:docMk/>
          <pc:sldMk cId="4147329363" sldId="2145705523"/>
        </pc:sldMkLst>
        <pc:spChg chg="del mod">
          <ac:chgData name="Juan Chacon Leon" userId="a5ea4cd5-abd8-4ce9-8acf-c5bb0e457165" providerId="ADAL" clId="{94D6BE0C-839B-D449-98E3-22CFD969AB83}" dt="2021-12-09T17:16:12.127" v="6052" actId="478"/>
          <ac:spMkLst>
            <pc:docMk/>
            <pc:sldMk cId="4147329363" sldId="2145705523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14.321" v="6054" actId="478"/>
          <ac:spMkLst>
            <pc:docMk/>
            <pc:sldMk cId="4147329363" sldId="2145705523"/>
            <ac:spMk id="5" creationId="{9B58C634-170A-024B-9B07-1AFB147980FC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6" creationId="{7AF8F7CD-0F96-1443-91A7-BE6C9172D6CB}"/>
          </ac:spMkLst>
        </pc:spChg>
        <pc:spChg chg="add mod">
          <ac:chgData name="Juan Chacon Leon" userId="a5ea4cd5-abd8-4ce9-8acf-c5bb0e457165" providerId="ADAL" clId="{94D6BE0C-839B-D449-98E3-22CFD969AB83}" dt="2021-12-09T17:16:12.527" v="6053"/>
          <ac:spMkLst>
            <pc:docMk/>
            <pc:sldMk cId="4147329363" sldId="2145705523"/>
            <ac:spMk id="11" creationId="{2DC1D1D7-DC17-694A-9DA6-A37B239FBC91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17" creationId="{3C779E13-DCBF-EC48-92F4-9AA1A145D972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18" creationId="{6C9F7C9D-612F-9043-B7A8-96E6C14D8BE2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22" creationId="{F30ECA8D-72A6-F846-8433-CB3BB8D28B9D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24" creationId="{5DA9CB29-AF6A-B645-94BA-3AB3E77D5297}"/>
          </ac:spMkLst>
        </pc:sp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44" creationId="{DAB904E4-CDC6-9E48-A915-E08DC7111FFD}"/>
          </ac:picMkLst>
        </pc:pic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46" creationId="{6D517ED8-081E-2946-A40E-19DC36346B7E}"/>
          </ac:picMkLst>
        </pc:pic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48" creationId="{4A979471-670D-894C-B3F1-EDB828454C6C}"/>
          </ac:picMkLst>
        </pc:pic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54" creationId="{C43DC09D-2328-F74E-9A0F-4228EE4C34CC}"/>
          </ac:picMkLst>
        </pc:pic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58" creationId="{FF4683DF-0AEE-2E44-85C1-5E9E324DFA41}"/>
          </ac:picMkLst>
        </pc:picChg>
      </pc:sldChg>
      <pc:sldChg chg="add del">
        <pc:chgData name="Juan Chacon Leon" userId="a5ea4cd5-abd8-4ce9-8acf-c5bb0e457165" providerId="ADAL" clId="{94D6BE0C-839B-D449-98E3-22CFD969AB83}" dt="2021-12-08T18:04:20.811" v="2654" actId="2696"/>
        <pc:sldMkLst>
          <pc:docMk/>
          <pc:sldMk cId="901342051" sldId="2145705524"/>
        </pc:sldMkLst>
      </pc:sldChg>
      <pc:sldChg chg="addSp delSp modSp add">
        <pc:chgData name="Juan Chacon Leon" userId="a5ea4cd5-abd8-4ce9-8acf-c5bb0e457165" providerId="ADAL" clId="{94D6BE0C-839B-D449-98E3-22CFD969AB83}" dt="2021-12-09T17:16:21.689" v="6057"/>
        <pc:sldMkLst>
          <pc:docMk/>
          <pc:sldMk cId="3361264105" sldId="2145705524"/>
        </pc:sldMkLst>
        <pc:spChg chg="del mod">
          <ac:chgData name="Juan Chacon Leon" userId="a5ea4cd5-abd8-4ce9-8acf-c5bb0e457165" providerId="ADAL" clId="{94D6BE0C-839B-D449-98E3-22CFD969AB83}" dt="2021-12-09T17:16:18.706" v="6055" actId="478"/>
          <ac:spMkLst>
            <pc:docMk/>
            <pc:sldMk cId="3361264105" sldId="2145705524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21.225" v="6056" actId="478"/>
          <ac:spMkLst>
            <pc:docMk/>
            <pc:sldMk cId="3361264105" sldId="2145705524"/>
            <ac:spMk id="5" creationId="{4B93A942-B620-8D49-AF99-54186B781641}"/>
          </ac:spMkLst>
        </pc:spChg>
        <pc:spChg chg="add mod">
          <ac:chgData name="Juan Chacon Leon" userId="a5ea4cd5-abd8-4ce9-8acf-c5bb0e457165" providerId="ADAL" clId="{94D6BE0C-839B-D449-98E3-22CFD969AB83}" dt="2021-12-09T17:16:21.689" v="6057"/>
          <ac:spMkLst>
            <pc:docMk/>
            <pc:sldMk cId="3361264105" sldId="2145705524"/>
            <ac:spMk id="14" creationId="{95B23629-AFFC-2047-B2CC-E2DA7165CECF}"/>
          </ac:spMkLst>
        </pc:spChg>
        <pc:spChg chg="del">
          <ac:chgData name="Juan Chacon Leon" userId="a5ea4cd5-abd8-4ce9-8acf-c5bb0e457165" providerId="ADAL" clId="{94D6BE0C-839B-D449-98E3-22CFD969AB83}" dt="2021-12-08T18:05:51.177" v="2669" actId="478"/>
          <ac:spMkLst>
            <pc:docMk/>
            <pc:sldMk cId="3361264105" sldId="2145705524"/>
            <ac:spMk id="18" creationId="{6C9F7C9D-612F-9043-B7A8-96E6C14D8BE2}"/>
          </ac:spMkLst>
        </pc:spChg>
        <pc:spChg chg="del">
          <ac:chgData name="Juan Chacon Leon" userId="a5ea4cd5-abd8-4ce9-8acf-c5bb0e457165" providerId="ADAL" clId="{94D6BE0C-839B-D449-98E3-22CFD969AB83}" dt="2021-12-08T18:05:47.067" v="2668" actId="478"/>
          <ac:spMkLst>
            <pc:docMk/>
            <pc:sldMk cId="3361264105" sldId="2145705524"/>
            <ac:spMk id="22" creationId="{F30ECA8D-72A6-F846-8433-CB3BB8D28B9D}"/>
          </ac:spMkLst>
        </pc:spChg>
        <pc:spChg chg="del">
          <ac:chgData name="Juan Chacon Leon" userId="a5ea4cd5-abd8-4ce9-8acf-c5bb0e457165" providerId="ADAL" clId="{94D6BE0C-839B-D449-98E3-22CFD969AB83}" dt="2021-12-08T18:05:47.067" v="2668" actId="478"/>
          <ac:spMkLst>
            <pc:docMk/>
            <pc:sldMk cId="3361264105" sldId="2145705524"/>
            <ac:spMk id="24" creationId="{5DA9CB29-AF6A-B645-94BA-3AB3E77D5297}"/>
          </ac:spMkLst>
        </pc:spChg>
        <pc:picChg chg="del">
          <ac:chgData name="Juan Chacon Leon" userId="a5ea4cd5-abd8-4ce9-8acf-c5bb0e457165" providerId="ADAL" clId="{94D6BE0C-839B-D449-98E3-22CFD969AB83}" dt="2021-12-08T18:05:51.177" v="2669" actId="478"/>
          <ac:picMkLst>
            <pc:docMk/>
            <pc:sldMk cId="3361264105" sldId="2145705524"/>
            <ac:picMk id="5144" creationId="{DAB904E4-CDC6-9E48-A915-E08DC7111FFD}"/>
          </ac:picMkLst>
        </pc:picChg>
        <pc:picChg chg="del">
          <ac:chgData name="Juan Chacon Leon" userId="a5ea4cd5-abd8-4ce9-8acf-c5bb0e457165" providerId="ADAL" clId="{94D6BE0C-839B-D449-98E3-22CFD969AB83}" dt="2021-12-08T18:05:51.177" v="2669" actId="478"/>
          <ac:picMkLst>
            <pc:docMk/>
            <pc:sldMk cId="3361264105" sldId="2145705524"/>
            <ac:picMk id="5146" creationId="{6D517ED8-081E-2946-A40E-19DC36346B7E}"/>
          </ac:picMkLst>
        </pc:picChg>
        <pc:picChg chg="del">
          <ac:chgData name="Juan Chacon Leon" userId="a5ea4cd5-abd8-4ce9-8acf-c5bb0e457165" providerId="ADAL" clId="{94D6BE0C-839B-D449-98E3-22CFD969AB83}" dt="2021-12-08T18:05:47.067" v="2668" actId="478"/>
          <ac:picMkLst>
            <pc:docMk/>
            <pc:sldMk cId="3361264105" sldId="2145705524"/>
            <ac:picMk id="5154" creationId="{C43DC09D-2328-F74E-9A0F-4228EE4C34CC}"/>
          </ac:picMkLst>
        </pc:picChg>
        <pc:picChg chg="del">
          <ac:chgData name="Juan Chacon Leon" userId="a5ea4cd5-abd8-4ce9-8acf-c5bb0e457165" providerId="ADAL" clId="{94D6BE0C-839B-D449-98E3-22CFD969AB83}" dt="2021-12-08T18:05:47.067" v="2668" actId="478"/>
          <ac:picMkLst>
            <pc:docMk/>
            <pc:sldMk cId="3361264105" sldId="2145705524"/>
            <ac:picMk id="5158" creationId="{FF4683DF-0AEE-2E44-85C1-5E9E324DFA41}"/>
          </ac:picMkLst>
        </pc:picChg>
      </pc:sldChg>
      <pc:sldChg chg="addSp delSp modSp add">
        <pc:chgData name="Juan Chacon Leon" userId="a5ea4cd5-abd8-4ce9-8acf-c5bb0e457165" providerId="ADAL" clId="{94D6BE0C-839B-D449-98E3-22CFD969AB83}" dt="2021-12-09T17:16:31.097" v="6060" actId="478"/>
        <pc:sldMkLst>
          <pc:docMk/>
          <pc:sldMk cId="2155573498" sldId="2145705525"/>
        </pc:sldMkLst>
        <pc:spChg chg="del mod">
          <ac:chgData name="Juan Chacon Leon" userId="a5ea4cd5-abd8-4ce9-8acf-c5bb0e457165" providerId="ADAL" clId="{94D6BE0C-839B-D449-98E3-22CFD969AB83}" dt="2021-12-09T17:16:26.626" v="6059" actId="478"/>
          <ac:spMkLst>
            <pc:docMk/>
            <pc:sldMk cId="2155573498" sldId="2145705525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31.097" v="6060" actId="478"/>
          <ac:spMkLst>
            <pc:docMk/>
            <pc:sldMk cId="2155573498" sldId="2145705525"/>
            <ac:spMk id="5" creationId="{AF79250E-D09C-0B47-A9F2-C5B71B0A72DF}"/>
          </ac:spMkLst>
        </pc:spChg>
        <pc:spChg chg="add mod">
          <ac:chgData name="Juan Chacon Leon" userId="a5ea4cd5-abd8-4ce9-8acf-c5bb0e457165" providerId="ADAL" clId="{94D6BE0C-839B-D449-98E3-22CFD969AB83}" dt="2021-12-09T17:16:24.537" v="6058"/>
          <ac:spMkLst>
            <pc:docMk/>
            <pc:sldMk cId="2155573498" sldId="2145705525"/>
            <ac:spMk id="15" creationId="{79907345-C396-5944-89DC-AB7433A75EAE}"/>
          </ac:spMkLst>
        </pc:spChg>
        <pc:spChg chg="del">
          <ac:chgData name="Juan Chacon Leon" userId="a5ea4cd5-abd8-4ce9-8acf-c5bb0e457165" providerId="ADAL" clId="{94D6BE0C-839B-D449-98E3-22CFD969AB83}" dt="2021-12-08T18:05:58.595" v="2670" actId="478"/>
          <ac:spMkLst>
            <pc:docMk/>
            <pc:sldMk cId="2155573498" sldId="2145705525"/>
            <ac:spMk id="22" creationId="{F30ECA8D-72A6-F846-8433-CB3BB8D28B9D}"/>
          </ac:spMkLst>
        </pc:spChg>
        <pc:spChg chg="del">
          <ac:chgData name="Juan Chacon Leon" userId="a5ea4cd5-abd8-4ce9-8acf-c5bb0e457165" providerId="ADAL" clId="{94D6BE0C-839B-D449-98E3-22CFD969AB83}" dt="2021-12-08T18:05:58.595" v="2670" actId="478"/>
          <ac:spMkLst>
            <pc:docMk/>
            <pc:sldMk cId="2155573498" sldId="2145705525"/>
            <ac:spMk id="24" creationId="{5DA9CB29-AF6A-B645-94BA-3AB3E77D5297}"/>
          </ac:spMkLst>
        </pc:spChg>
        <pc:picChg chg="del">
          <ac:chgData name="Juan Chacon Leon" userId="a5ea4cd5-abd8-4ce9-8acf-c5bb0e457165" providerId="ADAL" clId="{94D6BE0C-839B-D449-98E3-22CFD969AB83}" dt="2021-12-08T18:06:14.304" v="2672" actId="478"/>
          <ac:picMkLst>
            <pc:docMk/>
            <pc:sldMk cId="2155573498" sldId="2145705525"/>
            <ac:picMk id="5144" creationId="{DAB904E4-CDC6-9E48-A915-E08DC7111FFD}"/>
          </ac:picMkLst>
        </pc:picChg>
        <pc:picChg chg="del">
          <ac:chgData name="Juan Chacon Leon" userId="a5ea4cd5-abd8-4ce9-8acf-c5bb0e457165" providerId="ADAL" clId="{94D6BE0C-839B-D449-98E3-22CFD969AB83}" dt="2021-12-08T18:05:58.595" v="2670" actId="478"/>
          <ac:picMkLst>
            <pc:docMk/>
            <pc:sldMk cId="2155573498" sldId="2145705525"/>
            <ac:picMk id="5154" creationId="{C43DC09D-2328-F74E-9A0F-4228EE4C34CC}"/>
          </ac:picMkLst>
        </pc:picChg>
        <pc:picChg chg="del">
          <ac:chgData name="Juan Chacon Leon" userId="a5ea4cd5-abd8-4ce9-8acf-c5bb0e457165" providerId="ADAL" clId="{94D6BE0C-839B-D449-98E3-22CFD969AB83}" dt="2021-12-08T18:05:58.595" v="2670" actId="478"/>
          <ac:picMkLst>
            <pc:docMk/>
            <pc:sldMk cId="2155573498" sldId="2145705525"/>
            <ac:picMk id="5158" creationId="{FF4683DF-0AEE-2E44-85C1-5E9E324DFA41}"/>
          </ac:picMkLst>
        </pc:picChg>
      </pc:sldChg>
      <pc:sldChg chg="add del">
        <pc:chgData name="Juan Chacon Leon" userId="a5ea4cd5-abd8-4ce9-8acf-c5bb0e457165" providerId="ADAL" clId="{94D6BE0C-839B-D449-98E3-22CFD969AB83}" dt="2021-12-08T18:04:20.811" v="2654" actId="2696"/>
        <pc:sldMkLst>
          <pc:docMk/>
          <pc:sldMk cId="2201978255" sldId="2145705525"/>
        </pc:sldMkLst>
      </pc:sldChg>
      <pc:sldChg chg="addSp delSp modSp add mod">
        <pc:chgData name="Juan Chacon Leon" userId="a5ea4cd5-abd8-4ce9-8acf-c5bb0e457165" providerId="ADAL" clId="{94D6BE0C-839B-D449-98E3-22CFD969AB83}" dt="2021-12-09T17:16:48.235" v="6066"/>
        <pc:sldMkLst>
          <pc:docMk/>
          <pc:sldMk cId="3082973707" sldId="2145705526"/>
        </pc:sldMkLst>
        <pc:spChg chg="del mod">
          <ac:chgData name="Juan Chacon Leon" userId="a5ea4cd5-abd8-4ce9-8acf-c5bb0e457165" providerId="ADAL" clId="{94D6BE0C-839B-D449-98E3-22CFD969AB83}" dt="2021-12-09T17:16:41.167" v="6064" actId="478"/>
          <ac:spMkLst>
            <pc:docMk/>
            <pc:sldMk cId="3082973707" sldId="2145705526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42.714" v="6065" actId="478"/>
          <ac:spMkLst>
            <pc:docMk/>
            <pc:sldMk cId="3082973707" sldId="2145705526"/>
            <ac:spMk id="5" creationId="{1C6A357C-6E74-CA40-91FE-5385FF002F99}"/>
          </ac:spMkLst>
        </pc:spChg>
        <pc:spChg chg="add mod">
          <ac:chgData name="Juan Chacon Leon" userId="a5ea4cd5-abd8-4ce9-8acf-c5bb0e457165" providerId="ADAL" clId="{94D6BE0C-839B-D449-98E3-22CFD969AB83}" dt="2021-12-09T00:08:11.214" v="5886"/>
          <ac:spMkLst>
            <pc:docMk/>
            <pc:sldMk cId="3082973707" sldId="2145705526"/>
            <ac:spMk id="20" creationId="{A3813EFB-AA10-564C-AC65-DFB2B7A08CF9}"/>
          </ac:spMkLst>
        </pc:spChg>
        <pc:spChg chg="add mod">
          <ac:chgData name="Juan Chacon Leon" userId="a5ea4cd5-abd8-4ce9-8acf-c5bb0e457165" providerId="ADAL" clId="{94D6BE0C-839B-D449-98E3-22CFD969AB83}" dt="2021-12-09T17:16:48.235" v="6066"/>
          <ac:spMkLst>
            <pc:docMk/>
            <pc:sldMk cId="3082973707" sldId="2145705526"/>
            <ac:spMk id="21" creationId="{D765F707-2B63-5743-9DD3-26A56AFED220}"/>
          </ac:spMkLst>
        </pc:spChg>
        <pc:spChg chg="del">
          <ac:chgData name="Juan Chacon Leon" userId="a5ea4cd5-abd8-4ce9-8acf-c5bb0e457165" providerId="ADAL" clId="{94D6BE0C-839B-D449-98E3-22CFD969AB83}" dt="2021-12-08T18:06:51.352" v="2676" actId="478"/>
          <ac:spMkLst>
            <pc:docMk/>
            <pc:sldMk cId="3082973707" sldId="2145705526"/>
            <ac:spMk id="22" creationId="{F30ECA8D-72A6-F846-8433-CB3BB8D28B9D}"/>
          </ac:spMkLst>
        </pc:spChg>
        <pc:picChg chg="del">
          <ac:chgData name="Juan Chacon Leon" userId="a5ea4cd5-abd8-4ce9-8acf-c5bb0e457165" providerId="ADAL" clId="{94D6BE0C-839B-D449-98E3-22CFD969AB83}" dt="2021-12-08T18:06:49.683" v="2675" actId="478"/>
          <ac:picMkLst>
            <pc:docMk/>
            <pc:sldMk cId="3082973707" sldId="2145705526"/>
            <ac:picMk id="5158" creationId="{FF4683DF-0AEE-2E44-85C1-5E9E324DFA41}"/>
          </ac:picMkLst>
        </pc:picChg>
      </pc:sldChg>
      <pc:sldChg chg="add del">
        <pc:chgData name="Juan Chacon Leon" userId="a5ea4cd5-abd8-4ce9-8acf-c5bb0e457165" providerId="ADAL" clId="{94D6BE0C-839B-D449-98E3-22CFD969AB83}" dt="2021-12-08T18:15:48.440" v="2682" actId="2696"/>
        <pc:sldMkLst>
          <pc:docMk/>
          <pc:sldMk cId="3937039182" sldId="2145705527"/>
        </pc:sldMkLst>
      </pc:sldChg>
      <pc:sldChg chg="addSp delSp modSp add mod">
        <pc:chgData name="Juan Chacon Leon" userId="a5ea4cd5-abd8-4ce9-8acf-c5bb0e457165" providerId="ADAL" clId="{94D6BE0C-839B-D449-98E3-22CFD969AB83}" dt="2021-12-09T17:16:37.804" v="6063"/>
        <pc:sldMkLst>
          <pc:docMk/>
          <pc:sldMk cId="2532890314" sldId="2145705528"/>
        </pc:sldMkLst>
        <pc:spChg chg="del mod">
          <ac:chgData name="Juan Chacon Leon" userId="a5ea4cd5-abd8-4ce9-8acf-c5bb0e457165" providerId="ADAL" clId="{94D6BE0C-839B-D449-98E3-22CFD969AB83}" dt="2021-12-09T17:16:35.466" v="6061" actId="478"/>
          <ac:spMkLst>
            <pc:docMk/>
            <pc:sldMk cId="2532890314" sldId="2145705528"/>
            <ac:spMk id="2" creationId="{26A69818-8071-0643-B8D6-170338131EDE}"/>
          </ac:spMkLst>
        </pc:spChg>
        <pc:spChg chg="add mod">
          <ac:chgData name="Juan Chacon Leon" userId="a5ea4cd5-abd8-4ce9-8acf-c5bb0e457165" providerId="ADAL" clId="{94D6BE0C-839B-D449-98E3-22CFD969AB83}" dt="2021-12-09T00:08:04.617" v="5885" actId="1076"/>
          <ac:spMkLst>
            <pc:docMk/>
            <pc:sldMk cId="2532890314" sldId="2145705528"/>
            <ac:spMk id="5" creationId="{4DC15072-EEB8-E647-8551-B2DFFFAD0CED}"/>
          </ac:spMkLst>
        </pc:spChg>
        <pc:spChg chg="add del mod">
          <ac:chgData name="Juan Chacon Leon" userId="a5ea4cd5-abd8-4ce9-8acf-c5bb0e457165" providerId="ADAL" clId="{94D6BE0C-839B-D449-98E3-22CFD969AB83}" dt="2021-12-09T17:16:37.183" v="6062" actId="478"/>
          <ac:spMkLst>
            <pc:docMk/>
            <pc:sldMk cId="2532890314" sldId="2145705528"/>
            <ac:spMk id="9" creationId="{BBBCE889-F325-C840-8BA4-790D310323D9}"/>
          </ac:spMkLst>
        </pc:spChg>
        <pc:spChg chg="add mod">
          <ac:chgData name="Juan Chacon Leon" userId="a5ea4cd5-abd8-4ce9-8acf-c5bb0e457165" providerId="ADAL" clId="{94D6BE0C-839B-D449-98E3-22CFD969AB83}" dt="2021-12-09T17:16:37.804" v="6063"/>
          <ac:spMkLst>
            <pc:docMk/>
            <pc:sldMk cId="2532890314" sldId="2145705528"/>
            <ac:spMk id="19" creationId="{DF4B9C5D-E605-7249-A34F-8FEA786533A9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16:54.990" v="6069"/>
        <pc:sldMkLst>
          <pc:docMk/>
          <pc:sldMk cId="2298250115" sldId="2145705529"/>
        </pc:sldMkLst>
        <pc:spChg chg="del mod">
          <ac:chgData name="Juan Chacon Leon" userId="a5ea4cd5-abd8-4ce9-8acf-c5bb0e457165" providerId="ADAL" clId="{94D6BE0C-839B-D449-98E3-22CFD969AB83}" dt="2021-12-09T17:16:52.179" v="6067" actId="478"/>
          <ac:spMkLst>
            <pc:docMk/>
            <pc:sldMk cId="2298250115" sldId="2145705529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53.555" v="6068" actId="478"/>
          <ac:spMkLst>
            <pc:docMk/>
            <pc:sldMk cId="2298250115" sldId="2145705529"/>
            <ac:spMk id="5" creationId="{84B3FB1D-4A6D-0141-9574-3FEBAA89A2D6}"/>
          </ac:spMkLst>
        </pc:spChg>
        <pc:spChg chg="add mod">
          <ac:chgData name="Juan Chacon Leon" userId="a5ea4cd5-abd8-4ce9-8acf-c5bb0e457165" providerId="ADAL" clId="{94D6BE0C-839B-D449-98E3-22CFD969AB83}" dt="2021-12-09T00:08:18.714" v="5887"/>
          <ac:spMkLst>
            <pc:docMk/>
            <pc:sldMk cId="2298250115" sldId="2145705529"/>
            <ac:spMk id="20" creationId="{E85CBCEF-C4EA-B642-8849-6DAA3A3A9805}"/>
          </ac:spMkLst>
        </pc:spChg>
        <pc:spChg chg="add mod">
          <ac:chgData name="Juan Chacon Leon" userId="a5ea4cd5-abd8-4ce9-8acf-c5bb0e457165" providerId="ADAL" clId="{94D6BE0C-839B-D449-98E3-22CFD969AB83}" dt="2021-12-09T00:08:41.635" v="5890" actId="1076"/>
          <ac:spMkLst>
            <pc:docMk/>
            <pc:sldMk cId="2298250115" sldId="2145705529"/>
            <ac:spMk id="21" creationId="{16C4F481-F4A1-B54A-950C-6CE68FBBAEAC}"/>
          </ac:spMkLst>
        </pc:spChg>
        <pc:spChg chg="add mod">
          <ac:chgData name="Juan Chacon Leon" userId="a5ea4cd5-abd8-4ce9-8acf-c5bb0e457165" providerId="ADAL" clId="{94D6BE0C-839B-D449-98E3-22CFD969AB83}" dt="2021-12-09T17:16:54.990" v="6069"/>
          <ac:spMkLst>
            <pc:docMk/>
            <pc:sldMk cId="2298250115" sldId="2145705529"/>
            <ac:spMk id="22" creationId="{9E442C21-2B6A-1341-8D9E-97955A34FCE9}"/>
          </ac:spMkLst>
        </pc:spChg>
        <pc:spChg chg="del">
          <ac:chgData name="Juan Chacon Leon" userId="a5ea4cd5-abd8-4ce9-8acf-c5bb0e457165" providerId="ADAL" clId="{94D6BE0C-839B-D449-98E3-22CFD969AB83}" dt="2021-12-08T18:07:11.173" v="2677" actId="478"/>
          <ac:spMkLst>
            <pc:docMk/>
            <pc:sldMk cId="2298250115" sldId="2145705529"/>
            <ac:spMk id="22" creationId="{F30ECA8D-72A6-F846-8433-CB3BB8D28B9D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17:01.894" v="6072"/>
        <pc:sldMkLst>
          <pc:docMk/>
          <pc:sldMk cId="3055327691" sldId="2145705530"/>
        </pc:sldMkLst>
        <pc:spChg chg="del mod">
          <ac:chgData name="Juan Chacon Leon" userId="a5ea4cd5-abd8-4ce9-8acf-c5bb0e457165" providerId="ADAL" clId="{94D6BE0C-839B-D449-98E3-22CFD969AB83}" dt="2021-12-09T17:17:00.024" v="6070" actId="478"/>
          <ac:spMkLst>
            <pc:docMk/>
            <pc:sldMk cId="3055327691" sldId="2145705530"/>
            <ac:spMk id="2" creationId="{26A69818-8071-0643-B8D6-170338131EDE}"/>
          </ac:spMkLst>
        </pc:spChg>
        <pc:spChg chg="add mod">
          <ac:chgData name="Juan Chacon Leon" userId="a5ea4cd5-abd8-4ce9-8acf-c5bb0e457165" providerId="ADAL" clId="{94D6BE0C-839B-D449-98E3-22CFD969AB83}" dt="2021-12-08T18:07:51.465" v="2681" actId="692"/>
          <ac:spMkLst>
            <pc:docMk/>
            <pc:sldMk cId="3055327691" sldId="2145705530"/>
            <ac:spMk id="5" creationId="{D187D4F5-F7B3-624C-96D1-995EF4AD61B1}"/>
          </ac:spMkLst>
        </pc:spChg>
        <pc:spChg chg="add del mod">
          <ac:chgData name="Juan Chacon Leon" userId="a5ea4cd5-abd8-4ce9-8acf-c5bb0e457165" providerId="ADAL" clId="{94D6BE0C-839B-D449-98E3-22CFD969AB83}" dt="2021-12-09T17:17:01.390" v="6071" actId="478"/>
          <ac:spMkLst>
            <pc:docMk/>
            <pc:sldMk cId="3055327691" sldId="2145705530"/>
            <ac:spMk id="9" creationId="{20AD5094-AB50-C24B-B0EA-1550361EAAF5}"/>
          </ac:spMkLst>
        </pc:spChg>
        <pc:spChg chg="add mod">
          <ac:chgData name="Juan Chacon Leon" userId="a5ea4cd5-abd8-4ce9-8acf-c5bb0e457165" providerId="ADAL" clId="{94D6BE0C-839B-D449-98E3-22CFD969AB83}" dt="2021-12-09T00:08:21.560" v="5888"/>
          <ac:spMkLst>
            <pc:docMk/>
            <pc:sldMk cId="3055327691" sldId="2145705530"/>
            <ac:spMk id="21" creationId="{2E0C89B4-11E8-6D46-9B3E-4A7788EF469F}"/>
          </ac:spMkLst>
        </pc:spChg>
        <pc:spChg chg="add mod">
          <ac:chgData name="Juan Chacon Leon" userId="a5ea4cd5-abd8-4ce9-8acf-c5bb0e457165" providerId="ADAL" clId="{94D6BE0C-839B-D449-98E3-22CFD969AB83}" dt="2021-12-09T17:17:01.894" v="6072"/>
          <ac:spMkLst>
            <pc:docMk/>
            <pc:sldMk cId="3055327691" sldId="2145705530"/>
            <ac:spMk id="23" creationId="{93D787DA-1AD6-9A48-B3BE-0E4A0F51FD9E}"/>
          </ac:spMkLst>
        </pc:spChg>
      </pc:sldChg>
      <pc:sldChg chg="addSp delSp modSp add mod ord">
        <pc:chgData name="Juan Chacon Leon" userId="a5ea4cd5-abd8-4ce9-8acf-c5bb0e457165" providerId="ADAL" clId="{94D6BE0C-839B-D449-98E3-22CFD969AB83}" dt="2021-12-09T17:21:39.060" v="6103" actId="1037"/>
        <pc:sldMkLst>
          <pc:docMk/>
          <pc:sldMk cId="1968923281" sldId="2145705531"/>
        </pc:sldMkLst>
        <pc:spChg chg="mod">
          <ac:chgData name="Juan Chacon Leon" userId="a5ea4cd5-abd8-4ce9-8acf-c5bb0e457165" providerId="ADAL" clId="{94D6BE0C-839B-D449-98E3-22CFD969AB83}" dt="2021-12-09T17:21:39.060" v="6103" actId="1037"/>
          <ac:spMkLst>
            <pc:docMk/>
            <pc:sldMk cId="1968923281" sldId="2145705531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8T18:31:00.684" v="2816" actId="478"/>
          <ac:spMkLst>
            <pc:docMk/>
            <pc:sldMk cId="1968923281" sldId="2145705531"/>
            <ac:spMk id="3" creationId="{446B41EF-2F9F-7348-AF64-8D1398C89C94}"/>
          </ac:spMkLst>
        </pc:spChg>
        <pc:spChg chg="del mod">
          <ac:chgData name="Juan Chacon Leon" userId="a5ea4cd5-abd8-4ce9-8acf-c5bb0e457165" providerId="ADAL" clId="{94D6BE0C-839B-D449-98E3-22CFD969AB83}" dt="2021-12-08T18:40:45.928" v="2887" actId="478"/>
          <ac:spMkLst>
            <pc:docMk/>
            <pc:sldMk cId="1968923281" sldId="2145705531"/>
            <ac:spMk id="9" creationId="{9496876B-D230-5643-BED1-8A0A60EBF2C9}"/>
          </ac:spMkLst>
        </pc:spChg>
        <pc:spChg chg="del mod">
          <ac:chgData name="Juan Chacon Leon" userId="a5ea4cd5-abd8-4ce9-8acf-c5bb0e457165" providerId="ADAL" clId="{94D6BE0C-839B-D449-98E3-22CFD969AB83}" dt="2021-12-08T18:40:54.957" v="2894" actId="478"/>
          <ac:spMkLst>
            <pc:docMk/>
            <pc:sldMk cId="1968923281" sldId="2145705531"/>
            <ac:spMk id="10" creationId="{61A74E55-8624-394A-86C5-6B70CBC342AE}"/>
          </ac:spMkLst>
        </pc:spChg>
        <pc:spChg chg="del">
          <ac:chgData name="Juan Chacon Leon" userId="a5ea4cd5-abd8-4ce9-8acf-c5bb0e457165" providerId="ADAL" clId="{94D6BE0C-839B-D449-98E3-22CFD969AB83}" dt="2021-12-08T18:31:03.296" v="2817" actId="478"/>
          <ac:spMkLst>
            <pc:docMk/>
            <pc:sldMk cId="1968923281" sldId="2145705531"/>
            <ac:spMk id="11" creationId="{6A3613CA-9E82-464D-990B-34F9F1929451}"/>
          </ac:spMkLst>
        </pc:spChg>
        <pc:spChg chg="del">
          <ac:chgData name="Juan Chacon Leon" userId="a5ea4cd5-abd8-4ce9-8acf-c5bb0e457165" providerId="ADAL" clId="{94D6BE0C-839B-D449-98E3-22CFD969AB83}" dt="2021-12-08T18:30:58.204" v="2815" actId="478"/>
          <ac:spMkLst>
            <pc:docMk/>
            <pc:sldMk cId="1968923281" sldId="2145705531"/>
            <ac:spMk id="13" creationId="{F46E4F08-A68E-B943-9045-AFBA1248C3AE}"/>
          </ac:spMkLst>
        </pc:spChg>
        <pc:spChg chg="mod">
          <ac:chgData name="Juan Chacon Leon" userId="a5ea4cd5-abd8-4ce9-8acf-c5bb0e457165" providerId="ADAL" clId="{94D6BE0C-839B-D449-98E3-22CFD969AB83}" dt="2021-12-08T18:40:06.143" v="2882" actId="1076"/>
          <ac:spMkLst>
            <pc:docMk/>
            <pc:sldMk cId="1968923281" sldId="2145705531"/>
            <ac:spMk id="18" creationId="{CCE04F5F-410C-544E-8280-A63FE7D74A53}"/>
          </ac:spMkLst>
        </pc:spChg>
        <pc:spChg chg="mod">
          <ac:chgData name="Juan Chacon Leon" userId="a5ea4cd5-abd8-4ce9-8acf-c5bb0e457165" providerId="ADAL" clId="{94D6BE0C-839B-D449-98E3-22CFD969AB83}" dt="2021-12-08T18:40:06.143" v="2882" actId="1076"/>
          <ac:spMkLst>
            <pc:docMk/>
            <pc:sldMk cId="1968923281" sldId="2145705531"/>
            <ac:spMk id="19" creationId="{6B31CFBF-0C8F-DB4A-B82F-390A4B2B6BC1}"/>
          </ac:spMkLst>
        </pc:spChg>
        <pc:spChg chg="del mod">
          <ac:chgData name="Juan Chacon Leon" userId="a5ea4cd5-abd8-4ce9-8acf-c5bb0e457165" providerId="ADAL" clId="{94D6BE0C-839B-D449-98E3-22CFD969AB83}" dt="2021-12-08T18:40:50.199" v="2891" actId="478"/>
          <ac:spMkLst>
            <pc:docMk/>
            <pc:sldMk cId="1968923281" sldId="2145705531"/>
            <ac:spMk id="21" creationId="{6FAEBB38-8915-C949-9F71-A2499E01BA58}"/>
          </ac:spMkLst>
        </pc:spChg>
        <pc:spChg chg="add del mod">
          <ac:chgData name="Juan Chacon Leon" userId="a5ea4cd5-abd8-4ce9-8acf-c5bb0e457165" providerId="ADAL" clId="{94D6BE0C-839B-D449-98E3-22CFD969AB83}" dt="2021-12-08T18:38:04.784" v="2854" actId="478"/>
          <ac:spMkLst>
            <pc:docMk/>
            <pc:sldMk cId="1968923281" sldId="2145705531"/>
            <ac:spMk id="23" creationId="{717E50AB-EC09-074F-B3D6-336BC2CE945D}"/>
          </ac:spMkLst>
        </pc:spChg>
        <pc:spChg chg="add del mod">
          <ac:chgData name="Juan Chacon Leon" userId="a5ea4cd5-abd8-4ce9-8acf-c5bb0e457165" providerId="ADAL" clId="{94D6BE0C-839B-D449-98E3-22CFD969AB83}" dt="2021-12-08T18:38:05.241" v="2856"/>
          <ac:spMkLst>
            <pc:docMk/>
            <pc:sldMk cId="1968923281" sldId="2145705531"/>
            <ac:spMk id="24" creationId="{3CA50606-C241-2748-A852-F2C7DFA78659}"/>
          </ac:spMkLst>
        </pc:spChg>
        <pc:spChg chg="add del mod">
          <ac:chgData name="Juan Chacon Leon" userId="a5ea4cd5-abd8-4ce9-8acf-c5bb0e457165" providerId="ADAL" clId="{94D6BE0C-839B-D449-98E3-22CFD969AB83}" dt="2021-12-08T18:40:57.416" v="2897" actId="478"/>
          <ac:spMkLst>
            <pc:docMk/>
            <pc:sldMk cId="1968923281" sldId="2145705531"/>
            <ac:spMk id="29" creationId="{81F5788E-2702-7641-9FD0-343555E4AC60}"/>
          </ac:spMkLst>
        </pc:spChg>
        <pc:picChg chg="del">
          <ac:chgData name="Juan Chacon Leon" userId="a5ea4cd5-abd8-4ce9-8acf-c5bb0e457165" providerId="ADAL" clId="{94D6BE0C-839B-D449-98E3-22CFD969AB83}" dt="2021-12-08T18:31:00.684" v="2816" actId="478"/>
          <ac:picMkLst>
            <pc:docMk/>
            <pc:sldMk cId="1968923281" sldId="2145705531"/>
            <ac:picMk id="5" creationId="{513F477C-3967-AC43-A7DF-7B43A35073FB}"/>
          </ac:picMkLst>
        </pc:picChg>
        <pc:picChg chg="del">
          <ac:chgData name="Juan Chacon Leon" userId="a5ea4cd5-abd8-4ce9-8acf-c5bb0e457165" providerId="ADAL" clId="{94D6BE0C-839B-D449-98E3-22CFD969AB83}" dt="2021-12-08T18:30:58.204" v="2815" actId="478"/>
          <ac:picMkLst>
            <pc:docMk/>
            <pc:sldMk cId="1968923281" sldId="2145705531"/>
            <ac:picMk id="14" creationId="{708CB012-DF0D-D342-B395-4358CD6F93C6}"/>
          </ac:picMkLst>
        </pc:picChg>
        <pc:picChg chg="del">
          <ac:chgData name="Juan Chacon Leon" userId="a5ea4cd5-abd8-4ce9-8acf-c5bb0e457165" providerId="ADAL" clId="{94D6BE0C-839B-D449-98E3-22CFD969AB83}" dt="2021-12-08T18:32:34.761" v="2825" actId="478"/>
          <ac:picMkLst>
            <pc:docMk/>
            <pc:sldMk cId="1968923281" sldId="2145705531"/>
            <ac:picMk id="15" creationId="{43F4C96B-1B7A-2345-8C9D-50419E2E37A6}"/>
          </ac:picMkLst>
        </pc:picChg>
        <pc:picChg chg="add del mod">
          <ac:chgData name="Juan Chacon Leon" userId="a5ea4cd5-abd8-4ce9-8acf-c5bb0e457165" providerId="ADAL" clId="{94D6BE0C-839B-D449-98E3-22CFD969AB83}" dt="2021-12-08T18:40:55.536" v="2895" actId="478"/>
          <ac:picMkLst>
            <pc:docMk/>
            <pc:sldMk cId="1968923281" sldId="2145705531"/>
            <ac:picMk id="25" creationId="{A2183294-1D8A-634F-BBCA-A3118E673883}"/>
          </ac:picMkLst>
        </pc:picChg>
        <pc:picChg chg="add del mod">
          <ac:chgData name="Juan Chacon Leon" userId="a5ea4cd5-abd8-4ce9-8acf-c5bb0e457165" providerId="ADAL" clId="{94D6BE0C-839B-D449-98E3-22CFD969AB83}" dt="2021-12-08T18:40:47.416" v="2888" actId="478"/>
          <ac:picMkLst>
            <pc:docMk/>
            <pc:sldMk cId="1968923281" sldId="2145705531"/>
            <ac:picMk id="17410" creationId="{A911F0B9-0DA2-EB48-99C8-3880D3E90310}"/>
          </ac:picMkLst>
        </pc:picChg>
        <pc:picChg chg="add del mod">
          <ac:chgData name="Juan Chacon Leon" userId="a5ea4cd5-abd8-4ce9-8acf-c5bb0e457165" providerId="ADAL" clId="{94D6BE0C-839B-D449-98E3-22CFD969AB83}" dt="2021-12-08T18:40:52.743" v="2893" actId="478"/>
          <ac:picMkLst>
            <pc:docMk/>
            <pc:sldMk cId="1968923281" sldId="2145705531"/>
            <ac:picMk id="17412" creationId="{738A08C0-8FD7-4442-AB2D-7DDAA2925749}"/>
          </ac:picMkLst>
        </pc:picChg>
        <pc:cxnChg chg="add del mod">
          <ac:chgData name="Juan Chacon Leon" userId="a5ea4cd5-abd8-4ce9-8acf-c5bb0e457165" providerId="ADAL" clId="{94D6BE0C-839B-D449-98E3-22CFD969AB83}" dt="2021-12-08T18:40:48.473" v="2889" actId="478"/>
          <ac:cxnSpMkLst>
            <pc:docMk/>
            <pc:sldMk cId="1968923281" sldId="2145705531"/>
            <ac:cxnSpMk id="6" creationId="{DD14550B-124B-B446-A83D-1B847C8AD681}"/>
          </ac:cxnSpMkLst>
        </pc:cxnChg>
        <pc:cxnChg chg="add del mod">
          <ac:chgData name="Juan Chacon Leon" userId="a5ea4cd5-abd8-4ce9-8acf-c5bb0e457165" providerId="ADAL" clId="{94D6BE0C-839B-D449-98E3-22CFD969AB83}" dt="2021-12-08T18:40:51.178" v="2892" actId="478"/>
          <ac:cxnSpMkLst>
            <pc:docMk/>
            <pc:sldMk cId="1968923281" sldId="2145705531"/>
            <ac:cxnSpMk id="17" creationId="{5A914870-EE6C-7744-8A13-7B92868BC7B1}"/>
          </ac:cxnSpMkLst>
        </pc:cxnChg>
        <pc:cxnChg chg="add del mod">
          <ac:chgData name="Juan Chacon Leon" userId="a5ea4cd5-abd8-4ce9-8acf-c5bb0e457165" providerId="ADAL" clId="{94D6BE0C-839B-D449-98E3-22CFD969AB83}" dt="2021-12-08T18:40:56.297" v="2896" actId="478"/>
          <ac:cxnSpMkLst>
            <pc:docMk/>
            <pc:sldMk cId="1968923281" sldId="2145705531"/>
            <ac:cxnSpMk id="30" creationId="{C8F59CD4-0B3F-C54A-88F1-D5B24E284C35}"/>
          </ac:cxnSpMkLst>
        </pc:cxnChg>
      </pc:sldChg>
      <pc:sldChg chg="addSp delSp modSp add mod">
        <pc:chgData name="Juan Chacon Leon" userId="a5ea4cd5-abd8-4ce9-8acf-c5bb0e457165" providerId="ADAL" clId="{94D6BE0C-839B-D449-98E3-22CFD969AB83}" dt="2021-12-09T17:21:53.843" v="6106"/>
        <pc:sldMkLst>
          <pc:docMk/>
          <pc:sldMk cId="2890539035" sldId="2145705532"/>
        </pc:sldMkLst>
        <pc:spChg chg="del">
          <ac:chgData name="Juan Chacon Leon" userId="a5ea4cd5-abd8-4ce9-8acf-c5bb0e457165" providerId="ADAL" clId="{94D6BE0C-839B-D449-98E3-22CFD969AB83}" dt="2021-12-09T17:21:50.014" v="6104" actId="478"/>
          <ac:spMkLst>
            <pc:docMk/>
            <pc:sldMk cId="2890539035" sldId="2145705532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1:52.566" v="6105" actId="478"/>
          <ac:spMkLst>
            <pc:docMk/>
            <pc:sldMk cId="2890539035" sldId="2145705532"/>
            <ac:spMk id="3" creationId="{731342EA-B676-8047-9851-55BC2A33B192}"/>
          </ac:spMkLst>
        </pc:spChg>
        <pc:spChg chg="del">
          <ac:chgData name="Juan Chacon Leon" userId="a5ea4cd5-abd8-4ce9-8acf-c5bb0e457165" providerId="ADAL" clId="{94D6BE0C-839B-D449-98E3-22CFD969AB83}" dt="2021-12-08T18:41:01.149" v="2898" actId="478"/>
          <ac:spMkLst>
            <pc:docMk/>
            <pc:sldMk cId="2890539035" sldId="2145705532"/>
            <ac:spMk id="10" creationId="{61A74E55-8624-394A-86C5-6B70CBC342AE}"/>
          </ac:spMkLst>
        </pc:spChg>
        <pc:spChg chg="add mod">
          <ac:chgData name="Juan Chacon Leon" userId="a5ea4cd5-abd8-4ce9-8acf-c5bb0e457165" providerId="ADAL" clId="{94D6BE0C-839B-D449-98E3-22CFD969AB83}" dt="2021-12-09T17:21:53.843" v="6106"/>
          <ac:spMkLst>
            <pc:docMk/>
            <pc:sldMk cId="2890539035" sldId="2145705532"/>
            <ac:spMk id="12" creationId="{F3ADE1CA-C21E-ED49-9CA4-0BC007AE1AA6}"/>
          </ac:spMkLst>
        </pc:spChg>
        <pc:spChg chg="del mod">
          <ac:chgData name="Juan Chacon Leon" userId="a5ea4cd5-abd8-4ce9-8acf-c5bb0e457165" providerId="ADAL" clId="{94D6BE0C-839B-D449-98E3-22CFD969AB83}" dt="2021-12-08T18:41:04.440" v="2902" actId="478"/>
          <ac:spMkLst>
            <pc:docMk/>
            <pc:sldMk cId="2890539035" sldId="2145705532"/>
            <ac:spMk id="29" creationId="{81F5788E-2702-7641-9FD0-343555E4AC60}"/>
          </ac:spMkLst>
        </pc:spChg>
        <pc:picChg chg="del">
          <ac:chgData name="Juan Chacon Leon" userId="a5ea4cd5-abd8-4ce9-8acf-c5bb0e457165" providerId="ADAL" clId="{94D6BE0C-839B-D449-98E3-22CFD969AB83}" dt="2021-12-08T18:41:02.332" v="2899" actId="478"/>
          <ac:picMkLst>
            <pc:docMk/>
            <pc:sldMk cId="2890539035" sldId="2145705532"/>
            <ac:picMk id="25" creationId="{A2183294-1D8A-634F-BBCA-A3118E673883}"/>
          </ac:picMkLst>
        </pc:picChg>
        <pc:cxnChg chg="del mod">
          <ac:chgData name="Juan Chacon Leon" userId="a5ea4cd5-abd8-4ce9-8acf-c5bb0e457165" providerId="ADAL" clId="{94D6BE0C-839B-D449-98E3-22CFD969AB83}" dt="2021-12-08T18:41:02.933" v="2900" actId="478"/>
          <ac:cxnSpMkLst>
            <pc:docMk/>
            <pc:sldMk cId="2890539035" sldId="2145705532"/>
            <ac:cxnSpMk id="30" creationId="{C8F59CD4-0B3F-C54A-88F1-D5B24E284C35}"/>
          </ac:cxnSpMkLst>
        </pc:cxnChg>
      </pc:sldChg>
      <pc:sldChg chg="addSp delSp modSp add">
        <pc:chgData name="Juan Chacon Leon" userId="a5ea4cd5-abd8-4ce9-8acf-c5bb0e457165" providerId="ADAL" clId="{94D6BE0C-839B-D449-98E3-22CFD969AB83}" dt="2021-12-09T17:22:01.710" v="6109"/>
        <pc:sldMkLst>
          <pc:docMk/>
          <pc:sldMk cId="2492713561" sldId="2145705533"/>
        </pc:sldMkLst>
        <pc:spChg chg="del">
          <ac:chgData name="Juan Chacon Leon" userId="a5ea4cd5-abd8-4ce9-8acf-c5bb0e457165" providerId="ADAL" clId="{94D6BE0C-839B-D449-98E3-22CFD969AB83}" dt="2021-12-09T17:21:57.765" v="6107" actId="478"/>
          <ac:spMkLst>
            <pc:docMk/>
            <pc:sldMk cId="2492713561" sldId="2145705533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01.117" v="6108" actId="478"/>
          <ac:spMkLst>
            <pc:docMk/>
            <pc:sldMk cId="2492713561" sldId="2145705533"/>
            <ac:spMk id="3" creationId="{33F1C3A4-A05F-E245-B277-F46985B9ACA6}"/>
          </ac:spMkLst>
        </pc:spChg>
        <pc:spChg chg="add mod">
          <ac:chgData name="Juan Chacon Leon" userId="a5ea4cd5-abd8-4ce9-8acf-c5bb0e457165" providerId="ADAL" clId="{94D6BE0C-839B-D449-98E3-22CFD969AB83}" dt="2021-12-09T17:22:01.710" v="6109"/>
          <ac:spMkLst>
            <pc:docMk/>
            <pc:sldMk cId="2492713561" sldId="2145705533"/>
            <ac:spMk id="16" creationId="{1F1452A0-183C-B34F-8FEC-1890ACB9CFAD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22:08.219" v="6112"/>
        <pc:sldMkLst>
          <pc:docMk/>
          <pc:sldMk cId="4155308240" sldId="2145705534"/>
        </pc:sldMkLst>
        <pc:spChg chg="del">
          <ac:chgData name="Juan Chacon Leon" userId="a5ea4cd5-abd8-4ce9-8acf-c5bb0e457165" providerId="ADAL" clId="{94D6BE0C-839B-D449-98E3-22CFD969AB83}" dt="2021-12-09T17:22:06.407" v="6110" actId="478"/>
          <ac:spMkLst>
            <pc:docMk/>
            <pc:sldMk cId="4155308240" sldId="2145705534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07.836" v="6111" actId="478"/>
          <ac:spMkLst>
            <pc:docMk/>
            <pc:sldMk cId="4155308240" sldId="2145705534"/>
            <ac:spMk id="3" creationId="{CD599513-73BE-0D45-9811-006777E57168}"/>
          </ac:spMkLst>
        </pc:spChg>
        <pc:spChg chg="add mod">
          <ac:chgData name="Juan Chacon Leon" userId="a5ea4cd5-abd8-4ce9-8acf-c5bb0e457165" providerId="ADAL" clId="{94D6BE0C-839B-D449-98E3-22CFD969AB83}" dt="2021-12-09T17:22:08.219" v="6112"/>
          <ac:spMkLst>
            <pc:docMk/>
            <pc:sldMk cId="4155308240" sldId="2145705534"/>
            <ac:spMk id="7" creationId="{37E20824-8102-9747-881C-FA258D01B9B2}"/>
          </ac:spMkLst>
        </pc:spChg>
        <pc:spChg chg="add del mod">
          <ac:chgData name="Juan Chacon Leon" userId="a5ea4cd5-abd8-4ce9-8acf-c5bb0e457165" providerId="ADAL" clId="{94D6BE0C-839B-D449-98E3-22CFD969AB83}" dt="2021-12-08T18:52:33.202" v="3040" actId="478"/>
          <ac:spMkLst>
            <pc:docMk/>
            <pc:sldMk cId="4155308240" sldId="2145705534"/>
            <ac:spMk id="7" creationId="{B60E500A-613A-2941-98AE-E398A7BA8BD3}"/>
          </ac:spMkLst>
        </pc:spChg>
        <pc:spChg chg="del">
          <ac:chgData name="Juan Chacon Leon" userId="a5ea4cd5-abd8-4ce9-8acf-c5bb0e457165" providerId="ADAL" clId="{94D6BE0C-839B-D449-98E3-22CFD969AB83}" dt="2021-12-08T18:41:52.472" v="2908" actId="478"/>
          <ac:spMkLst>
            <pc:docMk/>
            <pc:sldMk cId="4155308240" sldId="2145705534"/>
            <ac:spMk id="9" creationId="{9496876B-D230-5643-BED1-8A0A60EBF2C9}"/>
          </ac:spMkLst>
        </pc:spChg>
        <pc:spChg chg="del">
          <ac:chgData name="Juan Chacon Leon" userId="a5ea4cd5-abd8-4ce9-8acf-c5bb0e457165" providerId="ADAL" clId="{94D6BE0C-839B-D449-98E3-22CFD969AB83}" dt="2021-12-08T18:41:52.472" v="2908" actId="478"/>
          <ac:spMkLst>
            <pc:docMk/>
            <pc:sldMk cId="4155308240" sldId="2145705534"/>
            <ac:spMk id="10" creationId="{61A74E55-8624-394A-86C5-6B70CBC342AE}"/>
          </ac:spMkLst>
        </pc:spChg>
        <pc:spChg chg="del">
          <ac:chgData name="Juan Chacon Leon" userId="a5ea4cd5-abd8-4ce9-8acf-c5bb0e457165" providerId="ADAL" clId="{94D6BE0C-839B-D449-98E3-22CFD969AB83}" dt="2021-12-08T18:41:48.766" v="2907" actId="478"/>
          <ac:spMkLst>
            <pc:docMk/>
            <pc:sldMk cId="4155308240" sldId="2145705534"/>
            <ac:spMk id="18" creationId="{CCE04F5F-410C-544E-8280-A63FE7D74A53}"/>
          </ac:spMkLst>
        </pc:spChg>
        <pc:spChg chg="mod">
          <ac:chgData name="Juan Chacon Leon" userId="a5ea4cd5-abd8-4ce9-8acf-c5bb0e457165" providerId="ADAL" clId="{94D6BE0C-839B-D449-98E3-22CFD969AB83}" dt="2021-12-08T18:42:03.155" v="2912" actId="1076"/>
          <ac:spMkLst>
            <pc:docMk/>
            <pc:sldMk cId="4155308240" sldId="2145705534"/>
            <ac:spMk id="19" creationId="{6B31CFBF-0C8F-DB4A-B82F-390A4B2B6BC1}"/>
          </ac:spMkLst>
        </pc:spChg>
        <pc:spChg chg="add mod">
          <ac:chgData name="Juan Chacon Leon" userId="a5ea4cd5-abd8-4ce9-8acf-c5bb0e457165" providerId="ADAL" clId="{94D6BE0C-839B-D449-98E3-22CFD969AB83}" dt="2021-12-08T18:48:04.955" v="3009" actId="1076"/>
          <ac:spMkLst>
            <pc:docMk/>
            <pc:sldMk cId="4155308240" sldId="2145705534"/>
            <ac:spMk id="20" creationId="{35687FF0-B1E4-394A-87E5-D5274FC3D274}"/>
          </ac:spMkLst>
        </pc:spChg>
        <pc:spChg chg="del mod">
          <ac:chgData name="Juan Chacon Leon" userId="a5ea4cd5-abd8-4ce9-8acf-c5bb0e457165" providerId="ADAL" clId="{94D6BE0C-839B-D449-98E3-22CFD969AB83}" dt="2021-12-08T18:41:56.540" v="2910" actId="478"/>
          <ac:spMkLst>
            <pc:docMk/>
            <pc:sldMk cId="4155308240" sldId="2145705534"/>
            <ac:spMk id="21" creationId="{6FAEBB38-8915-C949-9F71-A2499E01BA58}"/>
          </ac:spMkLst>
        </pc:spChg>
        <pc:spChg chg="add del mod">
          <ac:chgData name="Juan Chacon Leon" userId="a5ea4cd5-abd8-4ce9-8acf-c5bb0e457165" providerId="ADAL" clId="{94D6BE0C-839B-D449-98E3-22CFD969AB83}" dt="2021-12-08T18:52:35.361" v="3041" actId="478"/>
          <ac:spMkLst>
            <pc:docMk/>
            <pc:sldMk cId="4155308240" sldId="2145705534"/>
            <ac:spMk id="23" creationId="{64897A95-3B60-B04A-A257-E415A4F8B490}"/>
          </ac:spMkLst>
        </pc:spChg>
        <pc:spChg chg="del">
          <ac:chgData name="Juan Chacon Leon" userId="a5ea4cd5-abd8-4ce9-8acf-c5bb0e457165" providerId="ADAL" clId="{94D6BE0C-839B-D449-98E3-22CFD969AB83}" dt="2021-12-08T18:41:52.472" v="2908" actId="478"/>
          <ac:spMkLst>
            <pc:docMk/>
            <pc:sldMk cId="4155308240" sldId="2145705534"/>
            <ac:spMk id="29" creationId="{81F5788E-2702-7641-9FD0-343555E4AC60}"/>
          </ac:spMkLst>
        </pc:spChg>
        <pc:picChg chg="add mod">
          <ac:chgData name="Juan Chacon Leon" userId="a5ea4cd5-abd8-4ce9-8acf-c5bb0e457165" providerId="ADAL" clId="{94D6BE0C-839B-D449-98E3-22CFD969AB83}" dt="2021-12-08T18:43:41.481" v="2914" actId="1076"/>
          <ac:picMkLst>
            <pc:docMk/>
            <pc:sldMk cId="4155308240" sldId="2145705534"/>
            <ac:picMk id="15" creationId="{17573000-B5F9-CC42-B8CF-485D31BDA408}"/>
          </ac:picMkLst>
        </pc:picChg>
        <pc:picChg chg="del">
          <ac:chgData name="Juan Chacon Leon" userId="a5ea4cd5-abd8-4ce9-8acf-c5bb0e457165" providerId="ADAL" clId="{94D6BE0C-839B-D449-98E3-22CFD969AB83}" dt="2021-12-08T18:41:52.472" v="2908" actId="478"/>
          <ac:picMkLst>
            <pc:docMk/>
            <pc:sldMk cId="4155308240" sldId="2145705534"/>
            <ac:picMk id="25" creationId="{A2183294-1D8A-634F-BBCA-A3118E673883}"/>
          </ac:picMkLst>
        </pc:picChg>
        <pc:picChg chg="del">
          <ac:chgData name="Juan Chacon Leon" userId="a5ea4cd5-abd8-4ce9-8acf-c5bb0e457165" providerId="ADAL" clId="{94D6BE0C-839B-D449-98E3-22CFD969AB83}" dt="2021-12-08T18:41:52.472" v="2908" actId="478"/>
          <ac:picMkLst>
            <pc:docMk/>
            <pc:sldMk cId="4155308240" sldId="2145705534"/>
            <ac:picMk id="17410" creationId="{A911F0B9-0DA2-EB48-99C8-3880D3E90310}"/>
          </ac:picMkLst>
        </pc:picChg>
        <pc:picChg chg="del">
          <ac:chgData name="Juan Chacon Leon" userId="a5ea4cd5-abd8-4ce9-8acf-c5bb0e457165" providerId="ADAL" clId="{94D6BE0C-839B-D449-98E3-22CFD969AB83}" dt="2021-12-08T18:41:52.472" v="2908" actId="478"/>
          <ac:picMkLst>
            <pc:docMk/>
            <pc:sldMk cId="4155308240" sldId="2145705534"/>
            <ac:picMk id="17412" creationId="{738A08C0-8FD7-4442-AB2D-7DDAA2925749}"/>
          </ac:picMkLst>
        </pc:picChg>
        <pc:cxnChg chg="del">
          <ac:chgData name="Juan Chacon Leon" userId="a5ea4cd5-abd8-4ce9-8acf-c5bb0e457165" providerId="ADAL" clId="{94D6BE0C-839B-D449-98E3-22CFD969AB83}" dt="2021-12-08T18:41:52.472" v="2908" actId="478"/>
          <ac:cxnSpMkLst>
            <pc:docMk/>
            <pc:sldMk cId="4155308240" sldId="2145705534"/>
            <ac:cxnSpMk id="6" creationId="{DD14550B-124B-B446-A83D-1B847C8AD681}"/>
          </ac:cxnSpMkLst>
        </pc:cxnChg>
        <pc:cxnChg chg="del">
          <ac:chgData name="Juan Chacon Leon" userId="a5ea4cd5-abd8-4ce9-8acf-c5bb0e457165" providerId="ADAL" clId="{94D6BE0C-839B-D449-98E3-22CFD969AB83}" dt="2021-12-08T18:41:52.472" v="2908" actId="478"/>
          <ac:cxnSpMkLst>
            <pc:docMk/>
            <pc:sldMk cId="4155308240" sldId="2145705534"/>
            <ac:cxnSpMk id="17" creationId="{5A914870-EE6C-7744-8A13-7B92868BC7B1}"/>
          </ac:cxnSpMkLst>
        </pc:cxnChg>
        <pc:cxnChg chg="add del mod">
          <ac:chgData name="Juan Chacon Leon" userId="a5ea4cd5-abd8-4ce9-8acf-c5bb0e457165" providerId="ADAL" clId="{94D6BE0C-839B-D449-98E3-22CFD969AB83}" dt="2021-12-08T18:52:29.616" v="3039" actId="478"/>
          <ac:cxnSpMkLst>
            <pc:docMk/>
            <pc:sldMk cId="4155308240" sldId="2145705534"/>
            <ac:cxnSpMk id="22" creationId="{959FB81D-00C5-3B49-A387-2870986B4072}"/>
          </ac:cxnSpMkLst>
        </pc:cxnChg>
        <pc:cxnChg chg="del">
          <ac:chgData name="Juan Chacon Leon" userId="a5ea4cd5-abd8-4ce9-8acf-c5bb0e457165" providerId="ADAL" clId="{94D6BE0C-839B-D449-98E3-22CFD969AB83}" dt="2021-12-08T18:41:52.472" v="2908" actId="478"/>
          <ac:cxnSpMkLst>
            <pc:docMk/>
            <pc:sldMk cId="4155308240" sldId="2145705534"/>
            <ac:cxnSpMk id="30" creationId="{C8F59CD4-0B3F-C54A-88F1-D5B24E284C35}"/>
          </ac:cxnSpMkLst>
        </pc:cxnChg>
      </pc:sldChg>
      <pc:sldChg chg="addSp delSp modSp add mod">
        <pc:chgData name="Juan Chacon Leon" userId="a5ea4cd5-abd8-4ce9-8acf-c5bb0e457165" providerId="ADAL" clId="{94D6BE0C-839B-D449-98E3-22CFD969AB83}" dt="2021-12-09T17:22:19.723" v="6118"/>
        <pc:sldMkLst>
          <pc:docMk/>
          <pc:sldMk cId="2928465761" sldId="2145705535"/>
        </pc:sldMkLst>
        <pc:spChg chg="del">
          <ac:chgData name="Juan Chacon Leon" userId="a5ea4cd5-abd8-4ce9-8acf-c5bb0e457165" providerId="ADAL" clId="{94D6BE0C-839B-D449-98E3-22CFD969AB83}" dt="2021-12-09T17:22:17.791" v="6116" actId="478"/>
          <ac:spMkLst>
            <pc:docMk/>
            <pc:sldMk cId="2928465761" sldId="2145705535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19.308" v="6117" actId="478"/>
          <ac:spMkLst>
            <pc:docMk/>
            <pc:sldMk cId="2928465761" sldId="2145705535"/>
            <ac:spMk id="3" creationId="{ECBD41C4-7958-1D4C-8C36-6EC21F64CBA1}"/>
          </ac:spMkLst>
        </pc:spChg>
        <pc:spChg chg="mod">
          <ac:chgData name="Juan Chacon Leon" userId="a5ea4cd5-abd8-4ce9-8acf-c5bb0e457165" providerId="ADAL" clId="{94D6BE0C-839B-D449-98E3-22CFD969AB83}" dt="2021-12-08T18:51:19.893" v="3029" actId="14100"/>
          <ac:spMkLst>
            <pc:docMk/>
            <pc:sldMk cId="2928465761" sldId="2145705535"/>
            <ac:spMk id="7" creationId="{B60E500A-613A-2941-98AE-E398A7BA8BD3}"/>
          </ac:spMkLst>
        </pc:spChg>
        <pc:spChg chg="add mod">
          <ac:chgData name="Juan Chacon Leon" userId="a5ea4cd5-abd8-4ce9-8acf-c5bb0e457165" providerId="ADAL" clId="{94D6BE0C-839B-D449-98E3-22CFD969AB83}" dt="2021-12-08T18:51:32.204" v="3032" actId="14100"/>
          <ac:spMkLst>
            <pc:docMk/>
            <pc:sldMk cId="2928465761" sldId="2145705535"/>
            <ac:spMk id="8" creationId="{49D6373D-F04A-9D46-AE6F-A85E8798EEB5}"/>
          </ac:spMkLst>
        </pc:spChg>
        <pc:spChg chg="add mod">
          <ac:chgData name="Juan Chacon Leon" userId="a5ea4cd5-abd8-4ce9-8acf-c5bb0e457165" providerId="ADAL" clId="{94D6BE0C-839B-D449-98E3-22CFD969AB83}" dt="2021-12-09T17:22:19.723" v="6118"/>
          <ac:spMkLst>
            <pc:docMk/>
            <pc:sldMk cId="2928465761" sldId="2145705535"/>
            <ac:spMk id="10" creationId="{48621C65-CFB0-A04A-8C8E-53CD5071A73E}"/>
          </ac:spMkLst>
        </pc:spChg>
        <pc:cxnChg chg="mod">
          <ac:chgData name="Juan Chacon Leon" userId="a5ea4cd5-abd8-4ce9-8acf-c5bb0e457165" providerId="ADAL" clId="{94D6BE0C-839B-D449-98E3-22CFD969AB83}" dt="2021-12-08T18:51:52.687" v="3034" actId="14100"/>
          <ac:cxnSpMkLst>
            <pc:docMk/>
            <pc:sldMk cId="2928465761" sldId="2145705535"/>
            <ac:cxnSpMk id="22" creationId="{959FB81D-00C5-3B49-A387-2870986B4072}"/>
          </ac:cxnSpMkLst>
        </pc:cxnChg>
      </pc:sldChg>
      <pc:sldChg chg="addSp delSp modSp add">
        <pc:chgData name="Juan Chacon Leon" userId="a5ea4cd5-abd8-4ce9-8acf-c5bb0e457165" providerId="ADAL" clId="{94D6BE0C-839B-D449-98E3-22CFD969AB83}" dt="2021-12-09T17:22:13.612" v="6115"/>
        <pc:sldMkLst>
          <pc:docMk/>
          <pc:sldMk cId="2008829713" sldId="2145705536"/>
        </pc:sldMkLst>
        <pc:spChg chg="del">
          <ac:chgData name="Juan Chacon Leon" userId="a5ea4cd5-abd8-4ce9-8acf-c5bb0e457165" providerId="ADAL" clId="{94D6BE0C-839B-D449-98E3-22CFD969AB83}" dt="2021-12-09T17:22:11.686" v="6113" actId="478"/>
          <ac:spMkLst>
            <pc:docMk/>
            <pc:sldMk cId="2008829713" sldId="2145705536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12.924" v="6114" actId="478"/>
          <ac:spMkLst>
            <pc:docMk/>
            <pc:sldMk cId="2008829713" sldId="2145705536"/>
            <ac:spMk id="3" creationId="{BBE3723C-F31C-ED46-B343-071A05A0B884}"/>
          </ac:spMkLst>
        </pc:spChg>
        <pc:spChg chg="add mod">
          <ac:chgData name="Juan Chacon Leon" userId="a5ea4cd5-abd8-4ce9-8acf-c5bb0e457165" providerId="ADAL" clId="{94D6BE0C-839B-D449-98E3-22CFD969AB83}" dt="2021-12-09T17:22:13.612" v="6115"/>
          <ac:spMkLst>
            <pc:docMk/>
            <pc:sldMk cId="2008829713" sldId="2145705536"/>
            <ac:spMk id="10" creationId="{3BB43A43-B858-5D49-8F43-CC111567285E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22:25.449" v="6121"/>
        <pc:sldMkLst>
          <pc:docMk/>
          <pc:sldMk cId="1902432721" sldId="2145705537"/>
        </pc:sldMkLst>
        <pc:spChg chg="del">
          <ac:chgData name="Juan Chacon Leon" userId="a5ea4cd5-abd8-4ce9-8acf-c5bb0e457165" providerId="ADAL" clId="{94D6BE0C-839B-D449-98E3-22CFD969AB83}" dt="2021-12-09T17:22:23.831" v="6119" actId="478"/>
          <ac:spMkLst>
            <pc:docMk/>
            <pc:sldMk cId="1902432721" sldId="2145705537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25.037" v="6120" actId="478"/>
          <ac:spMkLst>
            <pc:docMk/>
            <pc:sldMk cId="1902432721" sldId="2145705537"/>
            <ac:spMk id="3" creationId="{F0AFAAD6-5DC6-CD4C-84A3-852B03A92F7D}"/>
          </ac:spMkLst>
        </pc:spChg>
        <pc:spChg chg="add del mod">
          <ac:chgData name="Juan Chacon Leon" userId="a5ea4cd5-abd8-4ce9-8acf-c5bb0e457165" providerId="ADAL" clId="{94D6BE0C-839B-D449-98E3-22CFD969AB83}" dt="2021-12-08T18:59:47.772" v="3160"/>
          <ac:spMkLst>
            <pc:docMk/>
            <pc:sldMk cId="1902432721" sldId="2145705537"/>
            <ac:spMk id="6" creationId="{D3E723E5-BEA2-1049-9CE6-E0BFE22A0A58}"/>
          </ac:spMkLst>
        </pc:spChg>
        <pc:spChg chg="del">
          <ac:chgData name="Juan Chacon Leon" userId="a5ea4cd5-abd8-4ce9-8acf-c5bb0e457165" providerId="ADAL" clId="{94D6BE0C-839B-D449-98E3-22CFD969AB83}" dt="2021-12-08T18:53:10.497" v="3044" actId="478"/>
          <ac:spMkLst>
            <pc:docMk/>
            <pc:sldMk cId="1902432721" sldId="2145705537"/>
            <ac:spMk id="7" creationId="{B60E500A-613A-2941-98AE-E398A7BA8BD3}"/>
          </ac:spMkLst>
        </pc:spChg>
        <pc:spChg chg="del">
          <ac:chgData name="Juan Chacon Leon" userId="a5ea4cd5-abd8-4ce9-8acf-c5bb0e457165" providerId="ADAL" clId="{94D6BE0C-839B-D449-98E3-22CFD969AB83}" dt="2021-12-08T18:53:09.022" v="3043" actId="478"/>
          <ac:spMkLst>
            <pc:docMk/>
            <pc:sldMk cId="1902432721" sldId="2145705537"/>
            <ac:spMk id="8" creationId="{49D6373D-F04A-9D46-AE6F-A85E8798EEB5}"/>
          </ac:spMkLst>
        </pc:spChg>
        <pc:spChg chg="add mod">
          <ac:chgData name="Juan Chacon Leon" userId="a5ea4cd5-abd8-4ce9-8acf-c5bb0e457165" providerId="ADAL" clId="{94D6BE0C-839B-D449-98E3-22CFD969AB83}" dt="2021-12-09T17:22:25.449" v="6121"/>
          <ac:spMkLst>
            <pc:docMk/>
            <pc:sldMk cId="1902432721" sldId="2145705537"/>
            <ac:spMk id="8" creationId="{8082357C-C651-C74F-BB57-1E68FD9AC734}"/>
          </ac:spMkLst>
        </pc:spChg>
        <pc:spChg chg="add del mod">
          <ac:chgData name="Juan Chacon Leon" userId="a5ea4cd5-abd8-4ce9-8acf-c5bb0e457165" providerId="ADAL" clId="{94D6BE0C-839B-D449-98E3-22CFD969AB83}" dt="2021-12-08T19:06:45.798" v="3278" actId="478"/>
          <ac:spMkLst>
            <pc:docMk/>
            <pc:sldMk cId="1902432721" sldId="2145705537"/>
            <ac:spMk id="14" creationId="{50F301C7-D769-234E-ADA4-0403DE2439F9}"/>
          </ac:spMkLst>
        </pc:spChg>
        <pc:spChg chg="add del mod">
          <ac:chgData name="Juan Chacon Leon" userId="a5ea4cd5-abd8-4ce9-8acf-c5bb0e457165" providerId="ADAL" clId="{94D6BE0C-839B-D449-98E3-22CFD969AB83}" dt="2021-12-08T19:06:48.447" v="3279" actId="478"/>
          <ac:spMkLst>
            <pc:docMk/>
            <pc:sldMk cId="1902432721" sldId="2145705537"/>
            <ac:spMk id="17" creationId="{A79E966C-4EAD-3344-B7A8-E8C5D6743C64}"/>
          </ac:spMkLst>
        </pc:spChg>
        <pc:spChg chg="mod">
          <ac:chgData name="Juan Chacon Leon" userId="a5ea4cd5-abd8-4ce9-8acf-c5bb0e457165" providerId="ADAL" clId="{94D6BE0C-839B-D449-98E3-22CFD969AB83}" dt="2021-12-08T18:53:16.387" v="3045" actId="1076"/>
          <ac:spMkLst>
            <pc:docMk/>
            <pc:sldMk cId="1902432721" sldId="2145705537"/>
            <ac:spMk id="20" creationId="{35687FF0-B1E4-394A-87E5-D5274FC3D274}"/>
          </ac:spMkLst>
        </pc:spChg>
        <pc:spChg chg="add del mod">
          <ac:chgData name="Juan Chacon Leon" userId="a5ea4cd5-abd8-4ce9-8acf-c5bb0e457165" providerId="ADAL" clId="{94D6BE0C-839B-D449-98E3-22CFD969AB83}" dt="2021-12-08T19:06:53.040" v="3280" actId="478"/>
          <ac:spMkLst>
            <pc:docMk/>
            <pc:sldMk cId="1902432721" sldId="2145705537"/>
            <ac:spMk id="24" creationId="{DF272198-CB09-EE4C-AF20-45E56024E08C}"/>
          </ac:spMkLst>
        </pc:spChg>
        <pc:spChg chg="add del mod">
          <ac:chgData name="Juan Chacon Leon" userId="a5ea4cd5-abd8-4ce9-8acf-c5bb0e457165" providerId="ADAL" clId="{94D6BE0C-839B-D449-98E3-22CFD969AB83}" dt="2021-12-08T19:06:53.040" v="3280" actId="478"/>
          <ac:spMkLst>
            <pc:docMk/>
            <pc:sldMk cId="1902432721" sldId="2145705537"/>
            <ac:spMk id="26" creationId="{A1C13AD8-8901-994C-9BFC-7CE2974AB402}"/>
          </ac:spMkLst>
        </pc:spChg>
        <pc:picChg chg="add del mod">
          <ac:chgData name="Juan Chacon Leon" userId="a5ea4cd5-abd8-4ce9-8acf-c5bb0e457165" providerId="ADAL" clId="{94D6BE0C-839B-D449-98E3-22CFD969AB83}" dt="2021-12-08T19:06:45.798" v="3278" actId="478"/>
          <ac:picMkLst>
            <pc:docMk/>
            <pc:sldMk cId="1902432721" sldId="2145705537"/>
            <ac:picMk id="11" creationId="{E758E2FC-BDB7-6A48-ABD6-EF907BA8706B}"/>
          </ac:picMkLst>
        </pc:picChg>
        <pc:picChg chg="add del mod">
          <ac:chgData name="Juan Chacon Leon" userId="a5ea4cd5-abd8-4ce9-8acf-c5bb0e457165" providerId="ADAL" clId="{94D6BE0C-839B-D449-98E3-22CFD969AB83}" dt="2021-12-08T19:06:48.447" v="3279" actId="478"/>
          <ac:picMkLst>
            <pc:docMk/>
            <pc:sldMk cId="1902432721" sldId="2145705537"/>
            <ac:picMk id="12" creationId="{7859EED5-DB30-ED42-8939-0C9C85A793DB}"/>
          </ac:picMkLst>
        </pc:picChg>
        <pc:picChg chg="add del mod">
          <ac:chgData name="Juan Chacon Leon" userId="a5ea4cd5-abd8-4ce9-8acf-c5bb0e457165" providerId="ADAL" clId="{94D6BE0C-839B-D449-98E3-22CFD969AB83}" dt="2021-12-08T19:06:53.040" v="3280" actId="478"/>
          <ac:picMkLst>
            <pc:docMk/>
            <pc:sldMk cId="1902432721" sldId="2145705537"/>
            <ac:picMk id="25" creationId="{DE53DB39-484F-354F-BDC3-195FF26D98ED}"/>
          </ac:picMkLst>
        </pc:picChg>
        <pc:picChg chg="add del mod">
          <ac:chgData name="Juan Chacon Leon" userId="a5ea4cd5-abd8-4ce9-8acf-c5bb0e457165" providerId="ADAL" clId="{94D6BE0C-839B-D449-98E3-22CFD969AB83}" dt="2021-12-08T19:06:53.040" v="3280" actId="478"/>
          <ac:picMkLst>
            <pc:docMk/>
            <pc:sldMk cId="1902432721" sldId="2145705537"/>
            <ac:picMk id="27" creationId="{118859BC-D693-2440-8D32-B214C8D4A258}"/>
          </ac:picMkLst>
        </pc:picChg>
        <pc:cxnChg chg="add del mod">
          <ac:chgData name="Juan Chacon Leon" userId="a5ea4cd5-abd8-4ce9-8acf-c5bb0e457165" providerId="ADAL" clId="{94D6BE0C-839B-D449-98E3-22CFD969AB83}" dt="2021-12-08T19:06:45.798" v="3278" actId="478"/>
          <ac:cxnSpMkLst>
            <pc:docMk/>
            <pc:sldMk cId="1902432721" sldId="2145705537"/>
            <ac:cxnSpMk id="18" creationId="{CA7AC8BC-52D4-BA48-8D22-A0DF470AECDD}"/>
          </ac:cxnSpMkLst>
        </pc:cxnChg>
        <pc:cxnChg chg="mod">
          <ac:chgData name="Juan Chacon Leon" userId="a5ea4cd5-abd8-4ce9-8acf-c5bb0e457165" providerId="ADAL" clId="{94D6BE0C-839B-D449-98E3-22CFD969AB83}" dt="2021-12-08T18:53:44.761" v="3053" actId="1038"/>
          <ac:cxnSpMkLst>
            <pc:docMk/>
            <pc:sldMk cId="1902432721" sldId="2145705537"/>
            <ac:cxnSpMk id="22" creationId="{959FB81D-00C5-3B49-A387-2870986B4072}"/>
          </ac:cxnSpMkLst>
        </pc:cxnChg>
        <pc:cxnChg chg="add del mod">
          <ac:chgData name="Juan Chacon Leon" userId="a5ea4cd5-abd8-4ce9-8acf-c5bb0e457165" providerId="ADAL" clId="{94D6BE0C-839B-D449-98E3-22CFD969AB83}" dt="2021-12-08T19:02:18.850" v="3190" actId="478"/>
          <ac:cxnSpMkLst>
            <pc:docMk/>
            <pc:sldMk cId="1902432721" sldId="2145705537"/>
            <ac:cxnSpMk id="23" creationId="{63C6A5F1-1141-2340-B68D-50F1DD4497EC}"/>
          </ac:cxnSpMkLst>
        </pc:cxnChg>
      </pc:sldChg>
      <pc:sldChg chg="delSp add del">
        <pc:chgData name="Juan Chacon Leon" userId="a5ea4cd5-abd8-4ce9-8acf-c5bb0e457165" providerId="ADAL" clId="{94D6BE0C-839B-D449-98E3-22CFD969AB83}" dt="2021-12-08T19:14:59.033" v="3387" actId="2696"/>
        <pc:sldMkLst>
          <pc:docMk/>
          <pc:sldMk cId="555691668" sldId="2145705538"/>
        </pc:sldMkLst>
        <pc:spChg chg="del">
          <ac:chgData name="Juan Chacon Leon" userId="a5ea4cd5-abd8-4ce9-8acf-c5bb0e457165" providerId="ADAL" clId="{94D6BE0C-839B-D449-98E3-22CFD969AB83}" dt="2021-12-08T19:07:06.377" v="3281" actId="478"/>
          <ac:spMkLst>
            <pc:docMk/>
            <pc:sldMk cId="555691668" sldId="2145705538"/>
            <ac:spMk id="17" creationId="{A79E966C-4EAD-3344-B7A8-E8C5D6743C64}"/>
          </ac:spMkLst>
        </pc:spChg>
        <pc:picChg chg="del">
          <ac:chgData name="Juan Chacon Leon" userId="a5ea4cd5-abd8-4ce9-8acf-c5bb0e457165" providerId="ADAL" clId="{94D6BE0C-839B-D449-98E3-22CFD969AB83}" dt="2021-12-08T19:07:06.377" v="3281" actId="478"/>
          <ac:picMkLst>
            <pc:docMk/>
            <pc:sldMk cId="555691668" sldId="2145705538"/>
            <ac:picMk id="12" creationId="{7859EED5-DB30-ED42-8939-0C9C85A793DB}"/>
          </ac:picMkLst>
        </pc:picChg>
      </pc:sldChg>
      <pc:sldChg chg="delSp add del mod">
        <pc:chgData name="Juan Chacon Leon" userId="a5ea4cd5-abd8-4ce9-8acf-c5bb0e457165" providerId="ADAL" clId="{94D6BE0C-839B-D449-98E3-22CFD969AB83}" dt="2021-12-08T19:11:19.302" v="3297" actId="2696"/>
        <pc:sldMkLst>
          <pc:docMk/>
          <pc:sldMk cId="3267324954" sldId="2145705539"/>
        </pc:sldMkLst>
        <pc:spChg chg="del">
          <ac:chgData name="Juan Chacon Leon" userId="a5ea4cd5-abd8-4ce9-8acf-c5bb0e457165" providerId="ADAL" clId="{94D6BE0C-839B-D449-98E3-22CFD969AB83}" dt="2021-12-08T19:07:40.197" v="3284" actId="478"/>
          <ac:spMkLst>
            <pc:docMk/>
            <pc:sldMk cId="3267324954" sldId="2145705539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07:38.001" v="3283" actId="478"/>
          <ac:spMkLst>
            <pc:docMk/>
            <pc:sldMk cId="3267324954" sldId="2145705539"/>
            <ac:spMk id="26" creationId="{A1C13AD8-8901-994C-9BFC-7CE2974AB402}"/>
          </ac:spMkLst>
        </pc:spChg>
        <pc:picChg chg="del">
          <ac:chgData name="Juan Chacon Leon" userId="a5ea4cd5-abd8-4ce9-8acf-c5bb0e457165" providerId="ADAL" clId="{94D6BE0C-839B-D449-98E3-22CFD969AB83}" dt="2021-12-08T19:07:40.197" v="3284" actId="478"/>
          <ac:picMkLst>
            <pc:docMk/>
            <pc:sldMk cId="3267324954" sldId="2145705539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07:38.001" v="3283" actId="478"/>
          <ac:picMkLst>
            <pc:docMk/>
            <pc:sldMk cId="3267324954" sldId="2145705539"/>
            <ac:picMk id="27" creationId="{118859BC-D693-2440-8D32-B214C8D4A258}"/>
          </ac:picMkLst>
        </pc:picChg>
      </pc:sldChg>
      <pc:sldChg chg="delSp modSp add del mod">
        <pc:chgData name="Juan Chacon Leon" userId="a5ea4cd5-abd8-4ce9-8acf-c5bb0e457165" providerId="ADAL" clId="{94D6BE0C-839B-D449-98E3-22CFD969AB83}" dt="2021-12-08T19:15:02.056" v="3388" actId="2696"/>
        <pc:sldMkLst>
          <pc:docMk/>
          <pc:sldMk cId="3524833733" sldId="2145705540"/>
        </pc:sldMkLst>
        <pc:spChg chg="mod">
          <ac:chgData name="Juan Chacon Leon" userId="a5ea4cd5-abd8-4ce9-8acf-c5bb0e457165" providerId="ADAL" clId="{94D6BE0C-839B-D449-98E3-22CFD969AB83}" dt="2021-12-08T19:11:13.108" v="3295" actId="1036"/>
          <ac:spMkLst>
            <pc:docMk/>
            <pc:sldMk cId="3524833733" sldId="2145705540"/>
            <ac:spMk id="17" creationId="{A79E966C-4EAD-3344-B7A8-E8C5D6743C64}"/>
          </ac:spMkLst>
        </pc:spChg>
        <pc:spChg chg="del">
          <ac:chgData name="Juan Chacon Leon" userId="a5ea4cd5-abd8-4ce9-8acf-c5bb0e457165" providerId="ADAL" clId="{94D6BE0C-839B-D449-98E3-22CFD969AB83}" dt="2021-12-08T19:11:28.820" v="3298" actId="478"/>
          <ac:spMkLst>
            <pc:docMk/>
            <pc:sldMk cId="3524833733" sldId="2145705540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11:28.820" v="3298" actId="478"/>
          <ac:spMkLst>
            <pc:docMk/>
            <pc:sldMk cId="3524833733" sldId="2145705540"/>
            <ac:spMk id="26" creationId="{A1C13AD8-8901-994C-9BFC-7CE2974AB402}"/>
          </ac:spMkLst>
        </pc:spChg>
        <pc:picChg chg="mod">
          <ac:chgData name="Juan Chacon Leon" userId="a5ea4cd5-abd8-4ce9-8acf-c5bb0e457165" providerId="ADAL" clId="{94D6BE0C-839B-D449-98E3-22CFD969AB83}" dt="2021-12-08T19:11:13.108" v="3295" actId="1036"/>
          <ac:picMkLst>
            <pc:docMk/>
            <pc:sldMk cId="3524833733" sldId="2145705540"/>
            <ac:picMk id="12" creationId="{7859EED5-DB30-ED42-8939-0C9C85A793DB}"/>
          </ac:picMkLst>
        </pc:picChg>
        <pc:picChg chg="del">
          <ac:chgData name="Juan Chacon Leon" userId="a5ea4cd5-abd8-4ce9-8acf-c5bb0e457165" providerId="ADAL" clId="{94D6BE0C-839B-D449-98E3-22CFD969AB83}" dt="2021-12-08T19:11:28.820" v="3298" actId="478"/>
          <ac:picMkLst>
            <pc:docMk/>
            <pc:sldMk cId="3524833733" sldId="2145705540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11:28.820" v="3298" actId="478"/>
          <ac:picMkLst>
            <pc:docMk/>
            <pc:sldMk cId="3524833733" sldId="2145705540"/>
            <ac:picMk id="27" creationId="{118859BC-D693-2440-8D32-B214C8D4A258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7:22:31.215" v="6124"/>
        <pc:sldMkLst>
          <pc:docMk/>
          <pc:sldMk cId="1186408375" sldId="2145705541"/>
        </pc:sldMkLst>
        <pc:spChg chg="del">
          <ac:chgData name="Juan Chacon Leon" userId="a5ea4cd5-abd8-4ce9-8acf-c5bb0e457165" providerId="ADAL" clId="{94D6BE0C-839B-D449-98E3-22CFD969AB83}" dt="2021-12-09T17:22:29.467" v="6122" actId="478"/>
          <ac:spMkLst>
            <pc:docMk/>
            <pc:sldMk cId="1186408375" sldId="2145705541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3" creationId="{8A9BCF3A-D922-B449-A5DB-1CAB2097F724}"/>
          </ac:spMkLst>
        </pc:spChg>
        <pc:spChg chg="add del mod">
          <ac:chgData name="Juan Chacon Leon" userId="a5ea4cd5-abd8-4ce9-8acf-c5bb0e457165" providerId="ADAL" clId="{94D6BE0C-839B-D449-98E3-22CFD969AB83}" dt="2021-12-09T17:22:30.826" v="6123" actId="478"/>
          <ac:spMkLst>
            <pc:docMk/>
            <pc:sldMk cId="1186408375" sldId="2145705541"/>
            <ac:spMk id="3" creationId="{E1B7A970-56D3-1C47-93FB-073C27C9FB41}"/>
          </ac:spMkLst>
        </pc:spChg>
        <pc:spChg chg="add del mod">
          <ac:chgData name="Juan Chacon Leon" userId="a5ea4cd5-abd8-4ce9-8acf-c5bb0e457165" providerId="ADAL" clId="{94D6BE0C-839B-D449-98E3-22CFD969AB83}" dt="2021-12-08T19:14:38.386" v="3382"/>
          <ac:spMkLst>
            <pc:docMk/>
            <pc:sldMk cId="1186408375" sldId="2145705541"/>
            <ac:spMk id="4" creationId="{991E4AB8-2A3E-CE4F-8188-34D3073AA910}"/>
          </ac:spMkLst>
        </pc:spChg>
        <pc:spChg chg="add mod">
          <ac:chgData name="Juan Chacon Leon" userId="a5ea4cd5-abd8-4ce9-8acf-c5bb0e457165" providerId="ADAL" clId="{94D6BE0C-839B-D449-98E3-22CFD969AB83}" dt="2021-12-09T17:22:31.215" v="6124"/>
          <ac:spMkLst>
            <pc:docMk/>
            <pc:sldMk cId="1186408375" sldId="2145705541"/>
            <ac:spMk id="12" creationId="{2DCE0E5F-2286-A146-9868-D84CCAE8E918}"/>
          </ac:spMkLst>
        </pc:spChg>
        <pc:spChg chg="mod">
          <ac:chgData name="Juan Chacon Leon" userId="a5ea4cd5-abd8-4ce9-8acf-c5bb0e457165" providerId="ADAL" clId="{94D6BE0C-839B-D449-98E3-22CFD969AB83}" dt="2021-12-08T19:13:41.567" v="3326" actId="1035"/>
          <ac:spMkLst>
            <pc:docMk/>
            <pc:sldMk cId="1186408375" sldId="2145705541"/>
            <ac:spMk id="14" creationId="{50F301C7-D769-234E-ADA4-0403DE2439F9}"/>
          </ac:spMkLst>
        </pc:spChg>
        <pc:spChg chg="del mod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17" creationId="{A79E966C-4EAD-3344-B7A8-E8C5D6743C64}"/>
          </ac:spMkLst>
        </pc:spChg>
        <pc:spChg chg="add del mod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21" creationId="{4BA384D9-BB3B-6343-85BC-568295ECED6D}"/>
          </ac:spMkLst>
        </pc:spChg>
        <pc:spChg chg="del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26" creationId="{A1C13AD8-8901-994C-9BFC-7CE2974AB402}"/>
          </ac:spMkLst>
        </pc:spChg>
        <pc:picChg chg="mod">
          <ac:chgData name="Juan Chacon Leon" userId="a5ea4cd5-abd8-4ce9-8acf-c5bb0e457165" providerId="ADAL" clId="{94D6BE0C-839B-D449-98E3-22CFD969AB83}" dt="2021-12-08T19:13:41.567" v="3326" actId="1035"/>
          <ac:picMkLst>
            <pc:docMk/>
            <pc:sldMk cId="1186408375" sldId="2145705541"/>
            <ac:picMk id="11" creationId="{E758E2FC-BDB7-6A48-ABD6-EF907BA8706B}"/>
          </ac:picMkLst>
        </pc:picChg>
        <pc:picChg chg="del mod">
          <ac:chgData name="Juan Chacon Leon" userId="a5ea4cd5-abd8-4ce9-8acf-c5bb0e457165" providerId="ADAL" clId="{94D6BE0C-839B-D449-98E3-22CFD969AB83}" dt="2021-12-08T19:15:17.364" v="3389" actId="478"/>
          <ac:picMkLst>
            <pc:docMk/>
            <pc:sldMk cId="1186408375" sldId="2145705541"/>
            <ac:picMk id="12" creationId="{7859EED5-DB30-ED42-8939-0C9C85A793DB}"/>
          </ac:picMkLst>
        </pc:picChg>
        <pc:picChg chg="del">
          <ac:chgData name="Juan Chacon Leon" userId="a5ea4cd5-abd8-4ce9-8acf-c5bb0e457165" providerId="ADAL" clId="{94D6BE0C-839B-D449-98E3-22CFD969AB83}" dt="2021-12-08T19:15:17.364" v="3389" actId="478"/>
          <ac:picMkLst>
            <pc:docMk/>
            <pc:sldMk cId="1186408375" sldId="2145705541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15:17.364" v="3389" actId="478"/>
          <ac:picMkLst>
            <pc:docMk/>
            <pc:sldMk cId="1186408375" sldId="2145705541"/>
            <ac:picMk id="27" creationId="{118859BC-D693-2440-8D32-B214C8D4A258}"/>
          </ac:picMkLst>
        </pc:picChg>
        <pc:cxnChg chg="mod">
          <ac:chgData name="Juan Chacon Leon" userId="a5ea4cd5-abd8-4ce9-8acf-c5bb0e457165" providerId="ADAL" clId="{94D6BE0C-839B-D449-98E3-22CFD969AB83}" dt="2021-12-08T19:13:41.567" v="3326" actId="1035"/>
          <ac:cxnSpMkLst>
            <pc:docMk/>
            <pc:sldMk cId="1186408375" sldId="2145705541"/>
            <ac:cxnSpMk id="18" creationId="{CA7AC8BC-52D4-BA48-8D22-A0DF470AECDD}"/>
          </ac:cxnSpMkLst>
        </pc:cxnChg>
      </pc:sldChg>
      <pc:sldChg chg="addSp delSp modSp add mod">
        <pc:chgData name="Juan Chacon Leon" userId="a5ea4cd5-abd8-4ce9-8acf-c5bb0e457165" providerId="ADAL" clId="{94D6BE0C-839B-D449-98E3-22CFD969AB83}" dt="2021-12-09T17:22:39.033" v="6127"/>
        <pc:sldMkLst>
          <pc:docMk/>
          <pc:sldMk cId="1278290064" sldId="2145705542"/>
        </pc:sldMkLst>
        <pc:spChg chg="del">
          <ac:chgData name="Juan Chacon Leon" userId="a5ea4cd5-abd8-4ce9-8acf-c5bb0e457165" providerId="ADAL" clId="{94D6BE0C-839B-D449-98E3-22CFD969AB83}" dt="2021-12-09T17:22:36.668" v="6125" actId="478"/>
          <ac:spMkLst>
            <pc:docMk/>
            <pc:sldMk cId="1278290064" sldId="2145705542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8T19:15:25.503" v="3390" actId="478"/>
          <ac:spMkLst>
            <pc:docMk/>
            <pc:sldMk cId="1278290064" sldId="2145705542"/>
            <ac:spMk id="3" creationId="{8A9BCF3A-D922-B449-A5DB-1CAB2097F724}"/>
          </ac:spMkLst>
        </pc:spChg>
        <pc:spChg chg="add del mod">
          <ac:chgData name="Juan Chacon Leon" userId="a5ea4cd5-abd8-4ce9-8acf-c5bb0e457165" providerId="ADAL" clId="{94D6BE0C-839B-D449-98E3-22CFD969AB83}" dt="2021-12-09T17:22:37.930" v="6126" actId="478"/>
          <ac:spMkLst>
            <pc:docMk/>
            <pc:sldMk cId="1278290064" sldId="2145705542"/>
            <ac:spMk id="3" creationId="{D2EA30DE-8EF4-F446-A2AA-A845884B7D85}"/>
          </ac:spMkLst>
        </pc:spChg>
        <pc:spChg chg="add mod">
          <ac:chgData name="Juan Chacon Leon" userId="a5ea4cd5-abd8-4ce9-8acf-c5bb0e457165" providerId="ADAL" clId="{94D6BE0C-839B-D449-98E3-22CFD969AB83}" dt="2021-12-09T17:22:39.033" v="6127"/>
          <ac:spMkLst>
            <pc:docMk/>
            <pc:sldMk cId="1278290064" sldId="2145705542"/>
            <ac:spMk id="13" creationId="{4174B50B-3331-2E47-A2E6-7186353FE0DC}"/>
          </ac:spMkLst>
        </pc:spChg>
        <pc:spChg chg="del">
          <ac:chgData name="Juan Chacon Leon" userId="a5ea4cd5-abd8-4ce9-8acf-c5bb0e457165" providerId="ADAL" clId="{94D6BE0C-839B-D449-98E3-22CFD969AB83}" dt="2021-12-08T19:15:25.503" v="3390" actId="478"/>
          <ac:spMkLst>
            <pc:docMk/>
            <pc:sldMk cId="1278290064" sldId="2145705542"/>
            <ac:spMk id="21" creationId="{4BA384D9-BB3B-6343-85BC-568295ECED6D}"/>
          </ac:spMkLst>
        </pc:spChg>
        <pc:spChg chg="del">
          <ac:chgData name="Juan Chacon Leon" userId="a5ea4cd5-abd8-4ce9-8acf-c5bb0e457165" providerId="ADAL" clId="{94D6BE0C-839B-D449-98E3-22CFD969AB83}" dt="2021-12-08T19:15:25.503" v="3390" actId="478"/>
          <ac:spMkLst>
            <pc:docMk/>
            <pc:sldMk cId="1278290064" sldId="2145705542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15:25.503" v="3390" actId="478"/>
          <ac:spMkLst>
            <pc:docMk/>
            <pc:sldMk cId="1278290064" sldId="2145705542"/>
            <ac:spMk id="26" creationId="{A1C13AD8-8901-994C-9BFC-7CE2974AB402}"/>
          </ac:spMkLst>
        </pc:spChg>
        <pc:picChg chg="del">
          <ac:chgData name="Juan Chacon Leon" userId="a5ea4cd5-abd8-4ce9-8acf-c5bb0e457165" providerId="ADAL" clId="{94D6BE0C-839B-D449-98E3-22CFD969AB83}" dt="2021-12-08T19:15:25.503" v="3390" actId="478"/>
          <ac:picMkLst>
            <pc:docMk/>
            <pc:sldMk cId="1278290064" sldId="2145705542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15:25.503" v="3390" actId="478"/>
          <ac:picMkLst>
            <pc:docMk/>
            <pc:sldMk cId="1278290064" sldId="2145705542"/>
            <ac:picMk id="27" creationId="{118859BC-D693-2440-8D32-B214C8D4A258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7:22:48.039" v="6130"/>
        <pc:sldMkLst>
          <pc:docMk/>
          <pc:sldMk cId="1503001068" sldId="2145705543"/>
        </pc:sldMkLst>
        <pc:spChg chg="del">
          <ac:chgData name="Juan Chacon Leon" userId="a5ea4cd5-abd8-4ce9-8acf-c5bb0e457165" providerId="ADAL" clId="{94D6BE0C-839B-D449-98E3-22CFD969AB83}" dt="2021-12-09T17:22:43.013" v="6128" actId="478"/>
          <ac:spMkLst>
            <pc:docMk/>
            <pc:sldMk cId="1503001068" sldId="2145705543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47.173" v="6129" actId="478"/>
          <ac:spMkLst>
            <pc:docMk/>
            <pc:sldMk cId="1503001068" sldId="2145705543"/>
            <ac:spMk id="4" creationId="{5054D5C7-F957-F34F-90F6-D1FCAF61E169}"/>
          </ac:spMkLst>
        </pc:spChg>
        <pc:spChg chg="add mod">
          <ac:chgData name="Juan Chacon Leon" userId="a5ea4cd5-abd8-4ce9-8acf-c5bb0e457165" providerId="ADAL" clId="{94D6BE0C-839B-D449-98E3-22CFD969AB83}" dt="2021-12-09T17:22:48.039" v="6130"/>
          <ac:spMkLst>
            <pc:docMk/>
            <pc:sldMk cId="1503001068" sldId="2145705543"/>
            <ac:spMk id="16" creationId="{AA273DE3-46F3-1C46-9813-1210769B3426}"/>
          </ac:spMkLst>
        </pc:spChg>
        <pc:spChg chg="del">
          <ac:chgData name="Juan Chacon Leon" userId="a5ea4cd5-abd8-4ce9-8acf-c5bb0e457165" providerId="ADAL" clId="{94D6BE0C-839B-D449-98E3-22CFD969AB83}" dt="2021-12-08T19:15:33.735" v="3391" actId="478"/>
          <ac:spMkLst>
            <pc:docMk/>
            <pc:sldMk cId="1503001068" sldId="2145705543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15:33.735" v="3391" actId="478"/>
          <ac:spMkLst>
            <pc:docMk/>
            <pc:sldMk cId="1503001068" sldId="2145705543"/>
            <ac:spMk id="26" creationId="{A1C13AD8-8901-994C-9BFC-7CE2974AB402}"/>
          </ac:spMkLst>
        </pc:spChg>
        <pc:picChg chg="del">
          <ac:chgData name="Juan Chacon Leon" userId="a5ea4cd5-abd8-4ce9-8acf-c5bb0e457165" providerId="ADAL" clId="{94D6BE0C-839B-D449-98E3-22CFD969AB83}" dt="2021-12-08T19:15:33.735" v="3391" actId="478"/>
          <ac:picMkLst>
            <pc:docMk/>
            <pc:sldMk cId="1503001068" sldId="2145705543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15:33.735" v="3391" actId="478"/>
          <ac:picMkLst>
            <pc:docMk/>
            <pc:sldMk cId="1503001068" sldId="2145705543"/>
            <ac:picMk id="27" creationId="{118859BC-D693-2440-8D32-B214C8D4A258}"/>
          </ac:picMkLst>
        </pc:picChg>
      </pc:sldChg>
      <pc:sldChg chg="addSp delSp modSp add">
        <pc:chgData name="Juan Chacon Leon" userId="a5ea4cd5-abd8-4ce9-8acf-c5bb0e457165" providerId="ADAL" clId="{94D6BE0C-839B-D449-98E3-22CFD969AB83}" dt="2021-12-09T17:22:54.915" v="6133" actId="478"/>
        <pc:sldMkLst>
          <pc:docMk/>
          <pc:sldMk cId="1979464815" sldId="2145705544"/>
        </pc:sldMkLst>
        <pc:spChg chg="del">
          <ac:chgData name="Juan Chacon Leon" userId="a5ea4cd5-abd8-4ce9-8acf-c5bb0e457165" providerId="ADAL" clId="{94D6BE0C-839B-D449-98E3-22CFD969AB83}" dt="2021-12-09T17:22:51.910" v="6131" actId="478"/>
          <ac:spMkLst>
            <pc:docMk/>
            <pc:sldMk cId="1979464815" sldId="2145705544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54.915" v="6133" actId="478"/>
          <ac:spMkLst>
            <pc:docMk/>
            <pc:sldMk cId="1979464815" sldId="2145705544"/>
            <ac:spMk id="4" creationId="{98A3C804-BAE1-474B-8EF0-892D4B69413B}"/>
          </ac:spMkLst>
        </pc:spChg>
        <pc:spChg chg="add mod">
          <ac:chgData name="Juan Chacon Leon" userId="a5ea4cd5-abd8-4ce9-8acf-c5bb0e457165" providerId="ADAL" clId="{94D6BE0C-839B-D449-98E3-22CFD969AB83}" dt="2021-12-09T17:22:52.689" v="6132"/>
          <ac:spMkLst>
            <pc:docMk/>
            <pc:sldMk cId="1979464815" sldId="2145705544"/>
            <ac:spMk id="23" creationId="{CEF908F5-97F3-0D4A-9A0B-BBB88A8A1576}"/>
          </ac:spMkLst>
        </pc:spChg>
      </pc:sldChg>
      <pc:sldChg chg="addSp delSp modSp add mod ord">
        <pc:chgData name="Juan Chacon Leon" userId="a5ea4cd5-abd8-4ce9-8acf-c5bb0e457165" providerId="ADAL" clId="{94D6BE0C-839B-D449-98E3-22CFD969AB83}" dt="2021-12-09T17:02:49.041" v="6042" actId="478"/>
        <pc:sldMkLst>
          <pc:docMk/>
          <pc:sldMk cId="1698068749" sldId="2145705545"/>
        </pc:sldMkLst>
        <pc:spChg chg="del">
          <ac:chgData name="Juan Chacon Leon" userId="a5ea4cd5-abd8-4ce9-8acf-c5bb0e457165" providerId="ADAL" clId="{94D6BE0C-839B-D449-98E3-22CFD969AB83}" dt="2021-12-09T17:02:46.250" v="6040" actId="478"/>
          <ac:spMkLst>
            <pc:docMk/>
            <pc:sldMk cId="1698068749" sldId="2145705545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8T21:32:06.609" v="4883" actId="478"/>
          <ac:spMkLst>
            <pc:docMk/>
            <pc:sldMk cId="1698068749" sldId="2145705545"/>
            <ac:spMk id="6" creationId="{3663BA93-0CA3-ED43-BEA3-525209933F8F}"/>
          </ac:spMkLst>
        </pc:spChg>
        <pc:spChg chg="add del mod">
          <ac:chgData name="Juan Chacon Leon" userId="a5ea4cd5-abd8-4ce9-8acf-c5bb0e457165" providerId="ADAL" clId="{94D6BE0C-839B-D449-98E3-22CFD969AB83}" dt="2021-12-09T17:02:49.041" v="6042" actId="478"/>
          <ac:spMkLst>
            <pc:docMk/>
            <pc:sldMk cId="1698068749" sldId="2145705545"/>
            <ac:spMk id="6" creationId="{5ED0D8B7-0B67-FB4F-836C-CD20E0E86BB8}"/>
          </ac:spMkLst>
        </pc:spChg>
        <pc:spChg chg="add mod">
          <ac:chgData name="Juan Chacon Leon" userId="a5ea4cd5-abd8-4ce9-8acf-c5bb0e457165" providerId="ADAL" clId="{94D6BE0C-839B-D449-98E3-22CFD969AB83}" dt="2021-12-09T17:02:46.727" v="6041"/>
          <ac:spMkLst>
            <pc:docMk/>
            <pc:sldMk cId="1698068749" sldId="2145705545"/>
            <ac:spMk id="13" creationId="{A7B679BD-CA8C-6F48-99B9-02C8F5B57555}"/>
          </ac:spMkLst>
        </pc:spChg>
        <pc:spChg chg="del">
          <ac:chgData name="Juan Chacon Leon" userId="a5ea4cd5-abd8-4ce9-8acf-c5bb0e457165" providerId="ADAL" clId="{94D6BE0C-839B-D449-98E3-22CFD969AB83}" dt="2021-12-08T21:32:06.609" v="4883" actId="478"/>
          <ac:spMkLst>
            <pc:docMk/>
            <pc:sldMk cId="1698068749" sldId="2145705545"/>
            <ac:spMk id="22" creationId="{843A8397-9DB2-EE4B-A730-B92BECA43AC4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02:58.561" v="6045" actId="478"/>
        <pc:sldMkLst>
          <pc:docMk/>
          <pc:sldMk cId="2533362086" sldId="2145705546"/>
        </pc:sldMkLst>
        <pc:spChg chg="del">
          <ac:chgData name="Juan Chacon Leon" userId="a5ea4cd5-abd8-4ce9-8acf-c5bb0e457165" providerId="ADAL" clId="{94D6BE0C-839B-D449-98E3-22CFD969AB83}" dt="2021-12-09T17:02:52.395" v="6043" actId="478"/>
          <ac:spMkLst>
            <pc:docMk/>
            <pc:sldMk cId="2533362086" sldId="2145705546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2:58.561" v="6045" actId="478"/>
          <ac:spMkLst>
            <pc:docMk/>
            <pc:sldMk cId="2533362086" sldId="2145705546"/>
            <ac:spMk id="8" creationId="{78E3BDE5-A3EB-594A-9BA3-9D023631630E}"/>
          </ac:spMkLst>
        </pc:spChg>
        <pc:spChg chg="add mod">
          <ac:chgData name="Juan Chacon Leon" userId="a5ea4cd5-abd8-4ce9-8acf-c5bb0e457165" providerId="ADAL" clId="{94D6BE0C-839B-D449-98E3-22CFD969AB83}" dt="2021-12-09T17:02:52.994" v="6044"/>
          <ac:spMkLst>
            <pc:docMk/>
            <pc:sldMk cId="2533362086" sldId="2145705546"/>
            <ac:spMk id="14" creationId="{74E63B91-1065-6E4E-B430-C6A28A4F8804}"/>
          </ac:spMkLst>
        </pc:spChg>
        <pc:spChg chg="del">
          <ac:chgData name="Juan Chacon Leon" userId="a5ea4cd5-abd8-4ce9-8acf-c5bb0e457165" providerId="ADAL" clId="{94D6BE0C-839B-D449-98E3-22CFD969AB83}" dt="2021-12-08T21:32:23.161" v="4885" actId="478"/>
          <ac:spMkLst>
            <pc:docMk/>
            <pc:sldMk cId="2533362086" sldId="2145705546"/>
            <ac:spMk id="22" creationId="{843A8397-9DB2-EE4B-A730-B92BECA43AC4}"/>
          </ac:spMkLst>
        </pc:spChg>
      </pc:sldChg>
      <pc:sldChg chg="addSp delSp modSp add">
        <pc:chgData name="Juan Chacon Leon" userId="a5ea4cd5-abd8-4ce9-8acf-c5bb0e457165" providerId="ADAL" clId="{94D6BE0C-839B-D449-98E3-22CFD969AB83}" dt="2021-12-09T17:16:01.825" v="6048" actId="478"/>
        <pc:sldMkLst>
          <pc:docMk/>
          <pc:sldMk cId="3259206033" sldId="2145705547"/>
        </pc:sldMkLst>
        <pc:spChg chg="del">
          <ac:chgData name="Juan Chacon Leon" userId="a5ea4cd5-abd8-4ce9-8acf-c5bb0e457165" providerId="ADAL" clId="{94D6BE0C-839B-D449-98E3-22CFD969AB83}" dt="2021-12-09T17:15:59.626" v="6046" actId="478"/>
          <ac:spMkLst>
            <pc:docMk/>
            <pc:sldMk cId="3259206033" sldId="2145705547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01.825" v="6048" actId="478"/>
          <ac:spMkLst>
            <pc:docMk/>
            <pc:sldMk cId="3259206033" sldId="2145705547"/>
            <ac:spMk id="8" creationId="{D688B615-7DA3-A64B-8E1E-461893DC5E62}"/>
          </ac:spMkLst>
        </pc:spChg>
        <pc:spChg chg="add mod">
          <ac:chgData name="Juan Chacon Leon" userId="a5ea4cd5-abd8-4ce9-8acf-c5bb0e457165" providerId="ADAL" clId="{94D6BE0C-839B-D449-98E3-22CFD969AB83}" dt="2021-12-09T17:16:00.244" v="6047"/>
          <ac:spMkLst>
            <pc:docMk/>
            <pc:sldMk cId="3259206033" sldId="2145705547"/>
            <ac:spMk id="15" creationId="{80859865-AC1F-6142-97D2-50783EC445EA}"/>
          </ac:spMkLst>
        </pc:spChg>
      </pc:sldChg>
      <pc:sldChg chg="addSp delSp modSp add">
        <pc:chgData name="Juan Chacon Leon" userId="a5ea4cd5-abd8-4ce9-8acf-c5bb0e457165" providerId="ADAL" clId="{94D6BE0C-839B-D449-98E3-22CFD969AB83}" dt="2021-12-09T17:02:40.986" v="6039"/>
        <pc:sldMkLst>
          <pc:docMk/>
          <pc:sldMk cId="130235409" sldId="2145705548"/>
        </pc:sldMkLst>
        <pc:spChg chg="del">
          <ac:chgData name="Juan Chacon Leon" userId="a5ea4cd5-abd8-4ce9-8acf-c5bb0e457165" providerId="ADAL" clId="{94D6BE0C-839B-D449-98E3-22CFD969AB83}" dt="2021-12-09T17:02:36.393" v="6037" actId="478"/>
          <ac:spMkLst>
            <pc:docMk/>
            <pc:sldMk cId="130235409" sldId="2145705548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2:40.263" v="6038" actId="478"/>
          <ac:spMkLst>
            <pc:docMk/>
            <pc:sldMk cId="130235409" sldId="2145705548"/>
            <ac:spMk id="3" creationId="{74C8EB74-0D0E-8A48-B679-FE6EE8ABC2C9}"/>
          </ac:spMkLst>
        </pc:spChg>
        <pc:spChg chg="del">
          <ac:chgData name="Juan Chacon Leon" userId="a5ea4cd5-abd8-4ce9-8acf-c5bb0e457165" providerId="ADAL" clId="{94D6BE0C-839B-D449-98E3-22CFD969AB83}" dt="2021-12-08T21:32:45.897" v="4887" actId="478"/>
          <ac:spMkLst>
            <pc:docMk/>
            <pc:sldMk cId="130235409" sldId="2145705548"/>
            <ac:spMk id="3" creationId="{A11DBDA5-07A9-6143-BA8A-7564B1050441}"/>
          </ac:spMkLst>
        </pc:spChg>
        <pc:spChg chg="del">
          <ac:chgData name="Juan Chacon Leon" userId="a5ea4cd5-abd8-4ce9-8acf-c5bb0e457165" providerId="ADAL" clId="{94D6BE0C-839B-D449-98E3-22CFD969AB83}" dt="2021-12-08T21:32:45.897" v="4887" actId="478"/>
          <ac:spMkLst>
            <pc:docMk/>
            <pc:sldMk cId="130235409" sldId="2145705548"/>
            <ac:spMk id="6" creationId="{3663BA93-0CA3-ED43-BEA3-525209933F8F}"/>
          </ac:spMkLst>
        </pc:spChg>
        <pc:spChg chg="add mod">
          <ac:chgData name="Juan Chacon Leon" userId="a5ea4cd5-abd8-4ce9-8acf-c5bb0e457165" providerId="ADAL" clId="{94D6BE0C-839B-D449-98E3-22CFD969AB83}" dt="2021-12-09T17:02:40.986" v="6039"/>
          <ac:spMkLst>
            <pc:docMk/>
            <pc:sldMk cId="130235409" sldId="2145705548"/>
            <ac:spMk id="11" creationId="{04B80615-8DB9-354C-9BBF-03CC2E58D6BC}"/>
          </ac:spMkLst>
        </pc:spChg>
        <pc:spChg chg="del">
          <ac:chgData name="Juan Chacon Leon" userId="a5ea4cd5-abd8-4ce9-8acf-c5bb0e457165" providerId="ADAL" clId="{94D6BE0C-839B-D449-98E3-22CFD969AB83}" dt="2021-12-08T21:32:45.897" v="4887" actId="478"/>
          <ac:spMkLst>
            <pc:docMk/>
            <pc:sldMk cId="130235409" sldId="2145705548"/>
            <ac:spMk id="22" creationId="{843A8397-9DB2-EE4B-A730-B92BECA43AC4}"/>
          </ac:spMkLst>
        </pc:spChg>
        <pc:picChg chg="del">
          <ac:chgData name="Juan Chacon Leon" userId="a5ea4cd5-abd8-4ce9-8acf-c5bb0e457165" providerId="ADAL" clId="{94D6BE0C-839B-D449-98E3-22CFD969AB83}" dt="2021-12-08T21:32:45.897" v="4887" actId="478"/>
          <ac:picMkLst>
            <pc:docMk/>
            <pc:sldMk cId="130235409" sldId="2145705548"/>
            <ac:picMk id="5" creationId="{CD2EB4EB-E69D-3E40-8697-A51E8E85E8B1}"/>
          </ac:picMkLst>
        </pc:picChg>
      </pc:sldChg>
      <pc:sldChg chg="add del">
        <pc:chgData name="Juan Chacon Leon" userId="a5ea4cd5-abd8-4ce9-8acf-c5bb0e457165" providerId="ADAL" clId="{94D6BE0C-839B-D449-98E3-22CFD969AB83}" dt="2021-12-08T23:50:31.212" v="5742" actId="2696"/>
        <pc:sldMkLst>
          <pc:docMk/>
          <pc:sldMk cId="2960751001" sldId="2145705549"/>
        </pc:sldMkLst>
      </pc:sldChg>
      <pc:sldChg chg="addSp delSp modSp add mod">
        <pc:chgData name="Juan Chacon Leon" userId="a5ea4cd5-abd8-4ce9-8acf-c5bb0e457165" providerId="ADAL" clId="{94D6BE0C-839B-D449-98E3-22CFD969AB83}" dt="2021-12-09T17:17:47.640" v="6079" actId="1035"/>
        <pc:sldMkLst>
          <pc:docMk/>
          <pc:sldMk cId="2405584767" sldId="2145705550"/>
        </pc:sldMkLst>
        <pc:spChg chg="del">
          <ac:chgData name="Juan Chacon Leon" userId="a5ea4cd5-abd8-4ce9-8acf-c5bb0e457165" providerId="ADAL" clId="{94D6BE0C-839B-D449-98E3-22CFD969AB83}" dt="2021-12-09T17:01:55.057" v="6026" actId="478"/>
          <ac:spMkLst>
            <pc:docMk/>
            <pc:sldMk cId="2405584767" sldId="2145705550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1:57.273" v="6027" actId="478"/>
          <ac:spMkLst>
            <pc:docMk/>
            <pc:sldMk cId="2405584767" sldId="2145705550"/>
            <ac:spMk id="3" creationId="{A9670BC7-5284-B34A-825B-7F4B13FBE5E1}"/>
          </ac:spMkLst>
        </pc:spChg>
        <pc:spChg chg="mod">
          <ac:chgData name="Juan Chacon Leon" userId="a5ea4cd5-abd8-4ce9-8acf-c5bb0e457165" providerId="ADAL" clId="{94D6BE0C-839B-D449-98E3-22CFD969AB83}" dt="2021-12-08T23:52:02.275" v="5783" actId="313"/>
          <ac:spMkLst>
            <pc:docMk/>
            <pc:sldMk cId="2405584767" sldId="2145705550"/>
            <ac:spMk id="9" creationId="{0B2B70A2-7FA5-2247-AE5E-B7F1260DE6E8}"/>
          </ac:spMkLst>
        </pc:spChg>
        <pc:spChg chg="mod">
          <ac:chgData name="Juan Chacon Leon" userId="a5ea4cd5-abd8-4ce9-8acf-c5bb0e457165" providerId="ADAL" clId="{94D6BE0C-839B-D449-98E3-22CFD969AB83}" dt="2021-12-08T23:50:20.465" v="5740" actId="1076"/>
          <ac:spMkLst>
            <pc:docMk/>
            <pc:sldMk cId="2405584767" sldId="2145705550"/>
            <ac:spMk id="10" creationId="{51081F73-BDED-6B40-BDE4-BAF90316FCA4}"/>
          </ac:spMkLst>
        </pc:spChg>
        <pc:spChg chg="mod">
          <ac:chgData name="Juan Chacon Leon" userId="a5ea4cd5-abd8-4ce9-8acf-c5bb0e457165" providerId="ADAL" clId="{94D6BE0C-839B-D449-98E3-22CFD969AB83}" dt="2021-12-08T23:52:28.714" v="5795" actId="20577"/>
          <ac:spMkLst>
            <pc:docMk/>
            <pc:sldMk cId="2405584767" sldId="2145705550"/>
            <ac:spMk id="11" creationId="{7E22121E-2052-6D44-81D9-5CCCEBD2C7AE}"/>
          </ac:spMkLst>
        </pc:spChg>
        <pc:spChg chg="add mod">
          <ac:chgData name="Juan Chacon Leon" userId="a5ea4cd5-abd8-4ce9-8acf-c5bb0e457165" providerId="ADAL" clId="{94D6BE0C-839B-D449-98E3-22CFD969AB83}" dt="2021-12-09T17:17:47.640" v="6079" actId="1035"/>
          <ac:spMkLst>
            <pc:docMk/>
            <pc:sldMk cId="2405584767" sldId="2145705550"/>
            <ac:spMk id="12" creationId="{69CDF84C-2E71-A744-9BB1-E71E679F82FC}"/>
          </ac:spMkLst>
        </pc:spChg>
        <pc:spChg chg="add del mod">
          <ac:chgData name="Juan Chacon Leon" userId="a5ea4cd5-abd8-4ce9-8acf-c5bb0e457165" providerId="ADAL" clId="{94D6BE0C-839B-D449-98E3-22CFD969AB83}" dt="2021-12-09T17:17:45.144" v="6078" actId="478"/>
          <ac:spMkLst>
            <pc:docMk/>
            <pc:sldMk cId="2405584767" sldId="2145705550"/>
            <ac:spMk id="13" creationId="{AC474CEA-0E91-8D44-8A0B-6E289C3BBB0B}"/>
          </ac:spMkLst>
        </pc:spChg>
        <pc:spChg chg="mod">
          <ac:chgData name="Juan Chacon Leon" userId="a5ea4cd5-abd8-4ce9-8acf-c5bb0e457165" providerId="ADAL" clId="{94D6BE0C-839B-D449-98E3-22CFD969AB83}" dt="2021-12-08T23:50:06.560" v="5730" actId="1076"/>
          <ac:spMkLst>
            <pc:docMk/>
            <pc:sldMk cId="2405584767" sldId="2145705550"/>
            <ac:spMk id="15" creationId="{5E4C787C-F03D-6148-901E-7E950A89CE6C}"/>
          </ac:spMkLst>
        </pc:spChg>
        <pc:spChg chg="mod topLvl">
          <ac:chgData name="Juan Chacon Leon" userId="a5ea4cd5-abd8-4ce9-8acf-c5bb0e457165" providerId="ADAL" clId="{94D6BE0C-839B-D449-98E3-22CFD969AB83}" dt="2021-12-08T23:54:08.686" v="5800" actId="1037"/>
          <ac:spMkLst>
            <pc:docMk/>
            <pc:sldMk cId="2405584767" sldId="2145705550"/>
            <ac:spMk id="16" creationId="{E39CC84C-9046-9C45-B8A9-95C42C4416F0}"/>
          </ac:spMkLst>
        </pc:spChg>
        <pc:grpChg chg="add del mod">
          <ac:chgData name="Juan Chacon Leon" userId="a5ea4cd5-abd8-4ce9-8acf-c5bb0e457165" providerId="ADAL" clId="{94D6BE0C-839B-D449-98E3-22CFD969AB83}" dt="2021-12-08T23:54:00.161" v="5796" actId="165"/>
          <ac:grpSpMkLst>
            <pc:docMk/>
            <pc:sldMk cId="2405584767" sldId="2145705550"/>
            <ac:grpSpMk id="3" creationId="{5847F62F-43C6-1248-B2C6-B5ABF90F05C9}"/>
          </ac:grpSpMkLst>
        </pc:grpChg>
        <pc:picChg chg="mod topLvl">
          <ac:chgData name="Juan Chacon Leon" userId="a5ea4cd5-abd8-4ce9-8acf-c5bb0e457165" providerId="ADAL" clId="{94D6BE0C-839B-D449-98E3-22CFD969AB83}" dt="2021-12-08T23:54:03.750" v="5798" actId="1035"/>
          <ac:picMkLst>
            <pc:docMk/>
            <pc:sldMk cId="2405584767" sldId="2145705550"/>
            <ac:picMk id="32770" creationId="{A7DA399B-B56D-DD42-90A2-167701F710FD}"/>
          </ac:picMkLst>
        </pc:picChg>
      </pc:sldChg>
      <pc:sldChg chg="addSp delSp modSp add mod ord">
        <pc:chgData name="Juan Chacon Leon" userId="a5ea4cd5-abd8-4ce9-8acf-c5bb0e457165" providerId="ADAL" clId="{94D6BE0C-839B-D449-98E3-22CFD969AB83}" dt="2021-12-09T17:17:31.434" v="6076" actId="1036"/>
        <pc:sldMkLst>
          <pc:docMk/>
          <pc:sldMk cId="649151783" sldId="2145705551"/>
        </pc:sldMkLst>
        <pc:spChg chg="del">
          <ac:chgData name="Juan Chacon Leon" userId="a5ea4cd5-abd8-4ce9-8acf-c5bb0e457165" providerId="ADAL" clId="{94D6BE0C-839B-D449-98E3-22CFD969AB83}" dt="2021-12-09T17:01:44.562" v="6023" actId="478"/>
          <ac:spMkLst>
            <pc:docMk/>
            <pc:sldMk cId="649151783" sldId="2145705551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1:51.272" v="6025" actId="478"/>
          <ac:spMkLst>
            <pc:docMk/>
            <pc:sldMk cId="649151783" sldId="2145705551"/>
            <ac:spMk id="3" creationId="{13A9B242-37B7-C545-ADC6-FBD9D62AB29D}"/>
          </ac:spMkLst>
        </pc:spChg>
        <pc:spChg chg="add del mod">
          <ac:chgData name="Juan Chacon Leon" userId="a5ea4cd5-abd8-4ce9-8acf-c5bb0e457165" providerId="ADAL" clId="{94D6BE0C-839B-D449-98E3-22CFD969AB83}" dt="2021-12-09T17:17:28.903" v="6073" actId="478"/>
          <ac:spMkLst>
            <pc:docMk/>
            <pc:sldMk cId="649151783" sldId="2145705551"/>
            <ac:spMk id="7" creationId="{03DF27ED-5A29-BF4E-8058-9966E8CA875B}"/>
          </ac:spMkLst>
        </pc:spChg>
        <pc:spChg chg="del">
          <ac:chgData name="Juan Chacon Leon" userId="a5ea4cd5-abd8-4ce9-8acf-c5bb0e457165" providerId="ADAL" clId="{94D6BE0C-839B-D449-98E3-22CFD969AB83}" dt="2021-12-08T23:58:35.880" v="5838" actId="478"/>
          <ac:spMkLst>
            <pc:docMk/>
            <pc:sldMk cId="649151783" sldId="2145705551"/>
            <ac:spMk id="9" creationId="{0B2B70A2-7FA5-2247-AE5E-B7F1260DE6E8}"/>
          </ac:spMkLst>
        </pc:spChg>
        <pc:spChg chg="add mod">
          <ac:chgData name="Juan Chacon Leon" userId="a5ea4cd5-abd8-4ce9-8acf-c5bb0e457165" providerId="ADAL" clId="{94D6BE0C-839B-D449-98E3-22CFD969AB83}" dt="2021-12-09T17:17:31.434" v="6076" actId="1036"/>
          <ac:spMkLst>
            <pc:docMk/>
            <pc:sldMk cId="649151783" sldId="2145705551"/>
            <ac:spMk id="9" creationId="{0E51913C-3FB6-C04B-90FF-2DAE31F2B996}"/>
          </ac:spMkLst>
        </pc:spChg>
        <pc:spChg chg="del">
          <ac:chgData name="Juan Chacon Leon" userId="a5ea4cd5-abd8-4ce9-8acf-c5bb0e457165" providerId="ADAL" clId="{94D6BE0C-839B-D449-98E3-22CFD969AB83}" dt="2021-12-08T23:58:35.880" v="5838" actId="478"/>
          <ac:spMkLst>
            <pc:docMk/>
            <pc:sldMk cId="649151783" sldId="2145705551"/>
            <ac:spMk id="10" creationId="{51081F73-BDED-6B40-BDE4-BAF90316FCA4}"/>
          </ac:spMkLst>
        </pc:spChg>
        <pc:spChg chg="del">
          <ac:chgData name="Juan Chacon Leon" userId="a5ea4cd5-abd8-4ce9-8acf-c5bb0e457165" providerId="ADAL" clId="{94D6BE0C-839B-D449-98E3-22CFD969AB83}" dt="2021-12-08T23:58:35.880" v="5838" actId="478"/>
          <ac:spMkLst>
            <pc:docMk/>
            <pc:sldMk cId="649151783" sldId="2145705551"/>
            <ac:spMk id="11" creationId="{7E22121E-2052-6D44-81D9-5CCCEBD2C7AE}"/>
          </ac:spMkLst>
        </pc:spChg>
        <pc:spChg chg="del">
          <ac:chgData name="Juan Chacon Leon" userId="a5ea4cd5-abd8-4ce9-8acf-c5bb0e457165" providerId="ADAL" clId="{94D6BE0C-839B-D449-98E3-22CFD969AB83}" dt="2021-12-08T23:58:35.880" v="5838" actId="478"/>
          <ac:spMkLst>
            <pc:docMk/>
            <pc:sldMk cId="649151783" sldId="2145705551"/>
            <ac:spMk id="15" creationId="{5E4C787C-F03D-6148-901E-7E950A89CE6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825" y="549275"/>
            <a:ext cx="6648450" cy="3740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50719" y="4530541"/>
            <a:ext cx="6647971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711139" y="9848208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25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53" indent="-11823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11" indent="-184638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681" indent="-127951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14" indent="-11661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726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180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635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We will walk through the details and challenges of formulating and solving integer linear programming </a:t>
            </a:r>
          </a:p>
          <a:p>
            <a:r>
              <a:rPr lang="en-CA" dirty="0"/>
              <a:t>models using a colouring problem in python as a study case. We will discuss not just about the </a:t>
            </a:r>
          </a:p>
          <a:p>
            <a:r>
              <a:rPr lang="en-CA" dirty="0"/>
              <a:t>mathematical nuances but how interpretability and testing play key roles while developing solutions</a:t>
            </a:r>
          </a:p>
          <a:p>
            <a:r>
              <a:rPr lang="en-CA" dirty="0"/>
              <a:t> using this technique to tackle practical problem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9284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jp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790258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C8BF6F-B084-477E-BC13-4CC0EB8E57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0698D4-5DE5-4127-A2AC-5321D2CC0C8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160"/>
            <a:ext cx="12192000" cy="6858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286865" y="1641545"/>
            <a:ext cx="8387393" cy="502445"/>
          </a:xfrm>
          <a:prstGeom prst="rect">
            <a:avLst/>
          </a:prstGeom>
        </p:spPr>
        <p:txBody>
          <a:bodyPr/>
          <a:lstStyle>
            <a:lvl1pPr>
              <a:defRPr lang="x-none"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631347" y="6151794"/>
            <a:ext cx="1005335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31347" y="6535571"/>
            <a:ext cx="100533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5256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161987" y="278865"/>
            <a:ext cx="11488993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701" userDrawn="1">
          <p15:clr>
            <a:srgbClr val="F26B43"/>
          </p15:clr>
        </p15:guide>
        <p15:guide id="4" orient="horz" pos="399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52B36-1B7C-487E-82A6-C586C49F9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F85F1A-7700-4ACD-9DB3-ECB33E5656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9576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73600" y="1447800"/>
            <a:ext cx="7518400" cy="533400"/>
          </a:xfrm>
        </p:spPr>
        <p:txBody>
          <a:bodyPr/>
          <a:lstStyle>
            <a:lvl1pPr>
              <a:defRPr sz="3733" b="0" baseline="0">
                <a:solidFill>
                  <a:schemeClr val="bg1"/>
                </a:solidFill>
              </a:defRPr>
            </a:lvl1pPr>
            <a:lvl2pPr>
              <a:defRPr sz="2133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73600" y="1981200"/>
            <a:ext cx="7518400" cy="609600"/>
          </a:xfrm>
        </p:spPr>
        <p:txBody>
          <a:bodyPr/>
          <a:lstStyle>
            <a:lvl1pPr>
              <a:defRPr sz="1867" b="0" baseline="0">
                <a:solidFill>
                  <a:schemeClr val="bg1"/>
                </a:solidFill>
              </a:defRPr>
            </a:lvl1pPr>
            <a:lvl2pPr>
              <a:defRPr sz="2133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Date</a:t>
            </a:r>
            <a:br>
              <a:rPr lang="en-US"/>
            </a:b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Job Title &amp; Any Other Information</a:t>
            </a:r>
          </a:p>
        </p:txBody>
      </p:sp>
      <p:pic>
        <p:nvPicPr>
          <p:cNvPr id="5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16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49BB14F-9965-4887-89C8-645998CF9458}"/>
              </a:ext>
            </a:extLst>
          </p:cNvPr>
          <p:cNvSpPr/>
          <p:nvPr/>
        </p:nvSpPr>
        <p:spPr>
          <a:xfrm rot="5400000">
            <a:off x="6010325" y="-3216052"/>
            <a:ext cx="171347" cy="121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1F56EA-C994-4262-90C4-512A5E24FBBA}"/>
              </a:ext>
            </a:extLst>
          </p:cNvPr>
          <p:cNvSpPr/>
          <p:nvPr/>
        </p:nvSpPr>
        <p:spPr>
          <a:xfrm rot="5400000">
            <a:off x="6010325" y="-92263"/>
            <a:ext cx="171347" cy="121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9F89A4-9772-4020-BF6C-24C00529D2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2386" r="52541" b="13416"/>
          <a:stretch/>
        </p:blipFill>
        <p:spPr>
          <a:xfrm>
            <a:off x="2" y="2926490"/>
            <a:ext cx="5786257" cy="303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339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36219606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7" name="Rectangle 9">
            <a:extLst>
              <a:ext uri="{FF2B5EF4-FFF2-40B4-BE49-F238E27FC236}">
                <a16:creationId xmlns:a16="http://schemas.microsoft.com/office/drawing/2014/main" id="{A0C7206C-3E1D-40EA-983B-9EA3AECC836D}"/>
              </a:ext>
            </a:extLst>
          </p:cNvPr>
          <p:cNvSpPr/>
          <p:nvPr userDrawn="1"/>
        </p:nvSpPr>
        <p:spPr>
          <a:xfrm>
            <a:off x="0" y="-3175"/>
            <a:ext cx="12192000" cy="871856"/>
          </a:xfrm>
          <a:custGeom>
            <a:avLst/>
            <a:gdLst>
              <a:gd name="connsiteX0" fmla="*/ 0 w 9144000"/>
              <a:gd name="connsiteY0" fmla="*/ 0 h 1069848"/>
              <a:gd name="connsiteX1" fmla="*/ 9144000 w 9144000"/>
              <a:gd name="connsiteY1" fmla="*/ 0 h 1069848"/>
              <a:gd name="connsiteX2" fmla="*/ 9144000 w 9144000"/>
              <a:gd name="connsiteY2" fmla="*/ 1069848 h 1069848"/>
              <a:gd name="connsiteX3" fmla="*/ 0 w 9144000"/>
              <a:gd name="connsiteY3" fmla="*/ 1069848 h 1069848"/>
              <a:gd name="connsiteX4" fmla="*/ 0 w 9144000"/>
              <a:gd name="connsiteY4" fmla="*/ 0 h 1069848"/>
              <a:gd name="connsiteX0" fmla="*/ 0 w 9144000"/>
              <a:gd name="connsiteY0" fmla="*/ 0 h 1069848"/>
              <a:gd name="connsiteX1" fmla="*/ 9144000 w 9144000"/>
              <a:gd name="connsiteY1" fmla="*/ 0 h 1069848"/>
              <a:gd name="connsiteX2" fmla="*/ 8775700 w 9144000"/>
              <a:gd name="connsiteY2" fmla="*/ 1066673 h 1069848"/>
              <a:gd name="connsiteX3" fmla="*/ 0 w 9144000"/>
              <a:gd name="connsiteY3" fmla="*/ 1069848 h 1069848"/>
              <a:gd name="connsiteX4" fmla="*/ 0 w 9144000"/>
              <a:gd name="connsiteY4" fmla="*/ 0 h 1069848"/>
              <a:gd name="connsiteX0" fmla="*/ 0 w 9124950"/>
              <a:gd name="connsiteY0" fmla="*/ 0 h 1069848"/>
              <a:gd name="connsiteX1" fmla="*/ 9124950 w 9124950"/>
              <a:gd name="connsiteY1" fmla="*/ 95250 h 1069848"/>
              <a:gd name="connsiteX2" fmla="*/ 8775700 w 9124950"/>
              <a:gd name="connsiteY2" fmla="*/ 1066673 h 1069848"/>
              <a:gd name="connsiteX3" fmla="*/ 0 w 9124950"/>
              <a:gd name="connsiteY3" fmla="*/ 1069848 h 1069848"/>
              <a:gd name="connsiteX4" fmla="*/ 0 w 9124950"/>
              <a:gd name="connsiteY4" fmla="*/ 0 h 1069848"/>
              <a:gd name="connsiteX0" fmla="*/ 0 w 9124950"/>
              <a:gd name="connsiteY0" fmla="*/ 2221 h 1072069"/>
              <a:gd name="connsiteX1" fmla="*/ 9124950 w 9124950"/>
              <a:gd name="connsiteY1" fmla="*/ 0 h 1072069"/>
              <a:gd name="connsiteX2" fmla="*/ 8775700 w 9124950"/>
              <a:gd name="connsiteY2" fmla="*/ 1068894 h 1072069"/>
              <a:gd name="connsiteX3" fmla="*/ 0 w 9124950"/>
              <a:gd name="connsiteY3" fmla="*/ 1072069 h 1072069"/>
              <a:gd name="connsiteX4" fmla="*/ 0 w 9124950"/>
              <a:gd name="connsiteY4" fmla="*/ 2221 h 1072069"/>
              <a:gd name="connsiteX0" fmla="*/ 0 w 9124950"/>
              <a:gd name="connsiteY0" fmla="*/ 0 h 1073329"/>
              <a:gd name="connsiteX1" fmla="*/ 9124950 w 9124950"/>
              <a:gd name="connsiteY1" fmla="*/ 1260 h 1073329"/>
              <a:gd name="connsiteX2" fmla="*/ 8775700 w 9124950"/>
              <a:gd name="connsiteY2" fmla="*/ 1070154 h 1073329"/>
              <a:gd name="connsiteX3" fmla="*/ 0 w 9124950"/>
              <a:gd name="connsiteY3" fmla="*/ 1073329 h 1073329"/>
              <a:gd name="connsiteX4" fmla="*/ 0 w 9124950"/>
              <a:gd name="connsiteY4" fmla="*/ 0 h 1073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24950" h="1073329">
                <a:moveTo>
                  <a:pt x="0" y="0"/>
                </a:moveTo>
                <a:lnTo>
                  <a:pt x="9124950" y="1260"/>
                </a:lnTo>
                <a:lnTo>
                  <a:pt x="8775700" y="1070154"/>
                </a:lnTo>
                <a:lnTo>
                  <a:pt x="0" y="107332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78865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 dirty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620963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800" baseline="0" smtClean="0">
                <a:solidFill>
                  <a:schemeClr val="accent6"/>
                </a:solidFill>
              </a:rPr>
              <a:pPr lvl="0" algn="l"/>
              <a:t>‹#›</a:t>
            </a:fld>
            <a:endParaRPr lang="en-US" sz="800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3" y="92851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8" y="92851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1162465" y="92851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1" y="928515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6CF82F51-FE8A-4250-92DE-BF5519D1688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61986" y="6393730"/>
            <a:ext cx="11725484" cy="131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8530" indent="-118530">
              <a:defRPr lang="x-none"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E3147A50-0E93-47D0-B5D1-820BEA50A0C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33486" y="6662017"/>
            <a:ext cx="10644230" cy="118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19113" indent="-519113" defTabSz="1218026">
              <a:tabLst/>
            </a:pPr>
            <a:r>
              <a:rPr lang="en-US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41A9C219-A310-4B86-BA59-0F7B10CC341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61986" y="3920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  <a:endParaRPr lang="en-US" sz="800" cap="all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57F3EDB5-2792-457A-A912-FB233F87A73B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61987" y="890415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</a:t>
            </a:r>
            <a:r>
              <a:rPr lang="en-US"/>
              <a:t>measure </a:t>
            </a:r>
            <a:endParaRPr lang="en-US" dirty="0"/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56BF96B-7547-4AFC-87AC-2A410F7B99CB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32593" y="6584525"/>
            <a:ext cx="67716" cy="180304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Freeform 5">
            <a:extLst>
              <a:ext uri="{FF2B5EF4-FFF2-40B4-BE49-F238E27FC236}">
                <a16:creationId xmlns:a16="http://schemas.microsoft.com/office/drawing/2014/main" id="{D9494C5A-4515-41FF-AE14-CAB486BAABE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61987" y="6585125"/>
            <a:ext cx="457200" cy="179704"/>
          </a:xfrm>
          <a:custGeom>
            <a:avLst/>
            <a:gdLst>
              <a:gd name="T0" fmla="*/ 427 w 2383"/>
              <a:gd name="T1" fmla="*/ 200 h 945"/>
              <a:gd name="T2" fmla="*/ 427 w 2383"/>
              <a:gd name="T3" fmla="*/ 927 h 945"/>
              <a:gd name="T4" fmla="*/ 241 w 2383"/>
              <a:gd name="T5" fmla="*/ 927 h 945"/>
              <a:gd name="T6" fmla="*/ 241 w 2383"/>
              <a:gd name="T7" fmla="*/ 200 h 945"/>
              <a:gd name="T8" fmla="*/ 0 w 2383"/>
              <a:gd name="T9" fmla="*/ 200 h 945"/>
              <a:gd name="T10" fmla="*/ 0 w 2383"/>
              <a:gd name="T11" fmla="*/ 40 h 945"/>
              <a:gd name="T12" fmla="*/ 694 w 2383"/>
              <a:gd name="T13" fmla="*/ 40 h 945"/>
              <a:gd name="T14" fmla="*/ 637 w 2383"/>
              <a:gd name="T15" fmla="*/ 200 h 945"/>
              <a:gd name="T16" fmla="*/ 427 w 2383"/>
              <a:gd name="T17" fmla="*/ 200 h 945"/>
              <a:gd name="T18" fmla="*/ 1084 w 2383"/>
              <a:gd name="T19" fmla="*/ 895 h 945"/>
              <a:gd name="T20" fmla="*/ 845 w 2383"/>
              <a:gd name="T21" fmla="*/ 945 h 945"/>
              <a:gd name="T22" fmla="*/ 523 w 2383"/>
              <a:gd name="T23" fmla="*/ 604 h 945"/>
              <a:gd name="T24" fmla="*/ 833 w 2383"/>
              <a:gd name="T25" fmla="*/ 254 h 945"/>
              <a:gd name="T26" fmla="*/ 1124 w 2383"/>
              <a:gd name="T27" fmla="*/ 602 h 945"/>
              <a:gd name="T28" fmla="*/ 1121 w 2383"/>
              <a:gd name="T29" fmla="*/ 658 h 945"/>
              <a:gd name="T30" fmla="*/ 695 w 2383"/>
              <a:gd name="T31" fmla="*/ 658 h 945"/>
              <a:gd name="T32" fmla="*/ 861 w 2383"/>
              <a:gd name="T33" fmla="*/ 806 h 945"/>
              <a:gd name="T34" fmla="*/ 1078 w 2383"/>
              <a:gd name="T35" fmla="*/ 745 h 945"/>
              <a:gd name="T36" fmla="*/ 1084 w 2383"/>
              <a:gd name="T37" fmla="*/ 895 h 945"/>
              <a:gd name="T38" fmla="*/ 837 w 2383"/>
              <a:gd name="T39" fmla="*/ 387 h 945"/>
              <a:gd name="T40" fmla="*/ 694 w 2383"/>
              <a:gd name="T41" fmla="*/ 529 h 945"/>
              <a:gd name="T42" fmla="*/ 959 w 2383"/>
              <a:gd name="T43" fmla="*/ 529 h 945"/>
              <a:gd name="T44" fmla="*/ 837 w 2383"/>
              <a:gd name="T45" fmla="*/ 387 h 945"/>
              <a:gd name="T46" fmla="*/ 837 w 2383"/>
              <a:gd name="T47" fmla="*/ 387 h 945"/>
              <a:gd name="T48" fmla="*/ 2383 w 2383"/>
              <a:gd name="T49" fmla="*/ 927 h 945"/>
              <a:gd name="T50" fmla="*/ 2094 w 2383"/>
              <a:gd name="T51" fmla="*/ 560 h 945"/>
              <a:gd name="T52" fmla="*/ 2380 w 2383"/>
              <a:gd name="T53" fmla="*/ 272 h 945"/>
              <a:gd name="T54" fmla="*/ 2175 w 2383"/>
              <a:gd name="T55" fmla="*/ 272 h 945"/>
              <a:gd name="T56" fmla="*/ 1940 w 2383"/>
              <a:gd name="T57" fmla="*/ 512 h 945"/>
              <a:gd name="T58" fmla="*/ 1940 w 2383"/>
              <a:gd name="T59" fmla="*/ 0 h 945"/>
              <a:gd name="T60" fmla="*/ 1762 w 2383"/>
              <a:gd name="T61" fmla="*/ 0 h 945"/>
              <a:gd name="T62" fmla="*/ 1762 w 2383"/>
              <a:gd name="T63" fmla="*/ 927 h 945"/>
              <a:gd name="T64" fmla="*/ 1940 w 2383"/>
              <a:gd name="T65" fmla="*/ 927 h 945"/>
              <a:gd name="T66" fmla="*/ 1940 w 2383"/>
              <a:gd name="T67" fmla="*/ 620 h 945"/>
              <a:gd name="T68" fmla="*/ 2173 w 2383"/>
              <a:gd name="T69" fmla="*/ 927 h 945"/>
              <a:gd name="T70" fmla="*/ 2383 w 2383"/>
              <a:gd name="T71" fmla="*/ 927 h 945"/>
              <a:gd name="T72" fmla="*/ 1685 w 2383"/>
              <a:gd name="T73" fmla="*/ 757 h 945"/>
              <a:gd name="T74" fmla="*/ 1532 w 2383"/>
              <a:gd name="T75" fmla="*/ 798 h 945"/>
              <a:gd name="T76" fmla="*/ 1355 w 2383"/>
              <a:gd name="T77" fmla="*/ 596 h 945"/>
              <a:gd name="T78" fmla="*/ 1537 w 2383"/>
              <a:gd name="T79" fmla="*/ 399 h 945"/>
              <a:gd name="T80" fmla="*/ 1674 w 2383"/>
              <a:gd name="T81" fmla="*/ 437 h 945"/>
              <a:gd name="T82" fmla="*/ 1684 w 2383"/>
              <a:gd name="T83" fmla="*/ 290 h 945"/>
              <a:gd name="T84" fmla="*/ 1521 w 2383"/>
              <a:gd name="T85" fmla="*/ 254 h 945"/>
              <a:gd name="T86" fmla="*/ 1178 w 2383"/>
              <a:gd name="T87" fmla="*/ 605 h 945"/>
              <a:gd name="T88" fmla="*/ 1509 w 2383"/>
              <a:gd name="T89" fmla="*/ 945 h 945"/>
              <a:gd name="T90" fmla="*/ 1691 w 2383"/>
              <a:gd name="T91" fmla="*/ 904 h 945"/>
              <a:gd name="T92" fmla="*/ 1685 w 2383"/>
              <a:gd name="T93" fmla="*/ 757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383" h="945">
                <a:moveTo>
                  <a:pt x="427" y="200"/>
                </a:moveTo>
                <a:lnTo>
                  <a:pt x="427" y="927"/>
                </a:lnTo>
                <a:lnTo>
                  <a:pt x="241" y="927"/>
                </a:lnTo>
                <a:lnTo>
                  <a:pt x="241" y="200"/>
                </a:lnTo>
                <a:lnTo>
                  <a:pt x="0" y="200"/>
                </a:lnTo>
                <a:lnTo>
                  <a:pt x="0" y="40"/>
                </a:lnTo>
                <a:lnTo>
                  <a:pt x="694" y="40"/>
                </a:lnTo>
                <a:lnTo>
                  <a:pt x="637" y="200"/>
                </a:lnTo>
                <a:lnTo>
                  <a:pt x="427" y="200"/>
                </a:lnTo>
                <a:close/>
                <a:moveTo>
                  <a:pt x="1084" y="895"/>
                </a:moveTo>
                <a:cubicBezTo>
                  <a:pt x="1034" y="919"/>
                  <a:pt x="965" y="945"/>
                  <a:pt x="845" y="945"/>
                </a:cubicBezTo>
                <a:cubicBezTo>
                  <a:pt x="635" y="945"/>
                  <a:pt x="523" y="794"/>
                  <a:pt x="523" y="604"/>
                </a:cubicBezTo>
                <a:cubicBezTo>
                  <a:pt x="523" y="403"/>
                  <a:pt x="649" y="254"/>
                  <a:pt x="833" y="254"/>
                </a:cubicBezTo>
                <a:cubicBezTo>
                  <a:pt x="1023" y="254"/>
                  <a:pt x="1124" y="389"/>
                  <a:pt x="1124" y="602"/>
                </a:cubicBezTo>
                <a:cubicBezTo>
                  <a:pt x="1124" y="630"/>
                  <a:pt x="1121" y="649"/>
                  <a:pt x="1121" y="658"/>
                </a:cubicBezTo>
                <a:lnTo>
                  <a:pt x="695" y="658"/>
                </a:lnTo>
                <a:cubicBezTo>
                  <a:pt x="692" y="706"/>
                  <a:pt x="732" y="806"/>
                  <a:pt x="861" y="806"/>
                </a:cubicBezTo>
                <a:cubicBezTo>
                  <a:pt x="977" y="806"/>
                  <a:pt x="1051" y="763"/>
                  <a:pt x="1078" y="745"/>
                </a:cubicBezTo>
                <a:lnTo>
                  <a:pt x="1084" y="895"/>
                </a:lnTo>
                <a:close/>
                <a:moveTo>
                  <a:pt x="837" y="387"/>
                </a:moveTo>
                <a:cubicBezTo>
                  <a:pt x="757" y="387"/>
                  <a:pt x="707" y="448"/>
                  <a:pt x="694" y="529"/>
                </a:cubicBezTo>
                <a:lnTo>
                  <a:pt x="959" y="529"/>
                </a:lnTo>
                <a:cubicBezTo>
                  <a:pt x="959" y="493"/>
                  <a:pt x="946" y="387"/>
                  <a:pt x="837" y="387"/>
                </a:cubicBezTo>
                <a:lnTo>
                  <a:pt x="837" y="387"/>
                </a:lnTo>
                <a:close/>
                <a:moveTo>
                  <a:pt x="2383" y="927"/>
                </a:moveTo>
                <a:lnTo>
                  <a:pt x="2094" y="560"/>
                </a:lnTo>
                <a:lnTo>
                  <a:pt x="2380" y="272"/>
                </a:lnTo>
                <a:lnTo>
                  <a:pt x="2175" y="272"/>
                </a:lnTo>
                <a:lnTo>
                  <a:pt x="1940" y="512"/>
                </a:lnTo>
                <a:lnTo>
                  <a:pt x="1940" y="0"/>
                </a:lnTo>
                <a:lnTo>
                  <a:pt x="1762" y="0"/>
                </a:lnTo>
                <a:lnTo>
                  <a:pt x="1762" y="927"/>
                </a:lnTo>
                <a:lnTo>
                  <a:pt x="1940" y="927"/>
                </a:lnTo>
                <a:lnTo>
                  <a:pt x="1940" y="620"/>
                </a:lnTo>
                <a:lnTo>
                  <a:pt x="2173" y="927"/>
                </a:lnTo>
                <a:lnTo>
                  <a:pt x="2383" y="927"/>
                </a:lnTo>
                <a:close/>
                <a:moveTo>
                  <a:pt x="1685" y="757"/>
                </a:moveTo>
                <a:cubicBezTo>
                  <a:pt x="1673" y="764"/>
                  <a:pt x="1609" y="798"/>
                  <a:pt x="1532" y="798"/>
                </a:cubicBezTo>
                <a:cubicBezTo>
                  <a:pt x="1413" y="798"/>
                  <a:pt x="1355" y="710"/>
                  <a:pt x="1355" y="596"/>
                </a:cubicBezTo>
                <a:cubicBezTo>
                  <a:pt x="1355" y="502"/>
                  <a:pt x="1418" y="399"/>
                  <a:pt x="1537" y="399"/>
                </a:cubicBezTo>
                <a:cubicBezTo>
                  <a:pt x="1610" y="399"/>
                  <a:pt x="1664" y="431"/>
                  <a:pt x="1674" y="437"/>
                </a:cubicBezTo>
                <a:lnTo>
                  <a:pt x="1684" y="290"/>
                </a:lnTo>
                <a:cubicBezTo>
                  <a:pt x="1646" y="271"/>
                  <a:pt x="1591" y="254"/>
                  <a:pt x="1521" y="254"/>
                </a:cubicBezTo>
                <a:cubicBezTo>
                  <a:pt x="1326" y="254"/>
                  <a:pt x="1178" y="401"/>
                  <a:pt x="1178" y="605"/>
                </a:cubicBezTo>
                <a:cubicBezTo>
                  <a:pt x="1178" y="799"/>
                  <a:pt x="1307" y="945"/>
                  <a:pt x="1509" y="945"/>
                </a:cubicBezTo>
                <a:cubicBezTo>
                  <a:pt x="1587" y="945"/>
                  <a:pt x="1649" y="925"/>
                  <a:pt x="1691" y="904"/>
                </a:cubicBezTo>
                <a:lnTo>
                  <a:pt x="1685" y="757"/>
                </a:lnTo>
                <a:close/>
              </a:path>
            </a:pathLst>
          </a:custGeom>
          <a:solidFill>
            <a:srgbClr val="000F7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colab.research.google.com/drive/1AvOAWRNp9VP6e1LUCitb9arVj7cLHaRH#scrollTo=zFrxWHHHxRXd" TargetMode="Externa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hyperlink" Target="https://www.reddit.com/r/MapPorn/comments/ilsfug/4_color_theorem_applied_to_europe" TargetMode="External"/><Relationship Id="rId7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hyperlink" Target="https://www.reddit.com/r/MapPorn/comments/ilsfug/4_color_theorem_applied_to_europe" TargetMode="External"/><Relationship Id="rId7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1.png"/><Relationship Id="rId7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s://www.reddit.com/r/MapPorn/comments/ilsfug/4_color_theorem_applied_to_europe" TargetMode="External"/><Relationship Id="rId9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31.png"/><Relationship Id="rId7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s://www.reddit.com/r/MapPorn/comments/ilsfug/4_color_theorem_applied_to_europe" TargetMode="External"/><Relationship Id="rId9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1.png"/><Relationship Id="rId7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s://www.reddit.com/r/MapPorn/comments/ilsfug/4_color_theorem_applied_to_europe" TargetMode="External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png"/><Relationship Id="rId5" Type="http://schemas.openxmlformats.org/officeDocument/2006/relationships/image" Target="../media/image36.png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7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7.png"/><Relationship Id="rId4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6.png"/><Relationship Id="rId7" Type="http://schemas.openxmlformats.org/officeDocument/2006/relationships/hyperlink" Target="https://github.com/juandados/MIPs-101-coloring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2.png"/><Relationship Id="rId5" Type="http://schemas.openxmlformats.org/officeDocument/2006/relationships/hyperlink" Target="https://colab.research.google.com/drive/1GZ83B0W-tW2_spwzZED3BJ--SBLytAOD?usp=sharing" TargetMode="External"/><Relationship Id="rId4" Type="http://schemas.openxmlformats.org/officeDocument/2006/relationships/image" Target="../media/image38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mazon.com/Model-Building-Mathematical-Programming-Williams/dp/1118443330/ref=sr_1_1?crid=3A4NKMPA35YQ6&amp;keywords=optimization+paul+williams&amp;qid=1638861957&amp;s=books&amp;sprefix=michael+%2Cstripbooks-intl-ship%2C326&amp;sr=1-1" TargetMode="External"/><Relationship Id="rId13" Type="http://schemas.openxmlformats.org/officeDocument/2006/relationships/image" Target="../media/image45.jpeg"/><Relationship Id="rId3" Type="http://schemas.openxmlformats.org/officeDocument/2006/relationships/hyperlink" Target="https://linuxtut.com/en/bb4fb7af8f1f39c6e6c1/" TargetMode="External"/><Relationship Id="rId7" Type="http://schemas.openxmlformats.org/officeDocument/2006/relationships/hyperlink" Target="https://coin-or.github.io/pulp/index.html" TargetMode="External"/><Relationship Id="rId12" Type="http://schemas.openxmlformats.org/officeDocument/2006/relationships/hyperlink" Target="https://www.amazon.ca/Integer-Programming-Michele-Conforti/dp/3319110071/ref=sr_1_1?keywords=michele+conforti+integer+programming&amp;qid=1639071399&amp;sr=8-1" TargetMode="External"/><Relationship Id="rId2" Type="http://schemas.openxmlformats.org/officeDocument/2006/relationships/hyperlink" Target="https://coin-or.github.io/pulp/technical/solvers.html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coursera.org/learn/discrete-optimization?" TargetMode="External"/><Relationship Id="rId11" Type="http://schemas.openxmlformats.org/officeDocument/2006/relationships/hyperlink" Target="https://towardsdatascience.com/solid-coding-in-python-1281392a6a94" TargetMode="External"/><Relationship Id="rId5" Type="http://schemas.openxmlformats.org/officeDocument/2006/relationships/hyperlink" Target="https://www.youtube.com/watch?v=mUjkCeLx6_4&amp;list=PLHiHZENG6W8Dt7ub1H1RsF4xXB_YtxXv-&amp;ab_channel=GurobiOptimization" TargetMode="External"/><Relationship Id="rId15" Type="http://schemas.openxmlformats.org/officeDocument/2006/relationships/image" Target="../media/image46.png"/><Relationship Id="rId10" Type="http://schemas.openxmlformats.org/officeDocument/2006/relationships/hyperlink" Target="https://en.wikipedia.org/wiki/COIN-OR" TargetMode="External"/><Relationship Id="rId4" Type="http://schemas.openxmlformats.org/officeDocument/2006/relationships/hyperlink" Target="https://www.gurobi.com/documentation/9.5/refman/mip_logging.html" TargetMode="External"/><Relationship Id="rId9" Type="http://schemas.openxmlformats.org/officeDocument/2006/relationships/image" Target="../media/image44.jpeg"/><Relationship Id="rId14" Type="http://schemas.openxmlformats.org/officeDocument/2006/relationships/hyperlink" Target="http://www.linkedin.com/in/juan-d-chacon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73C5BA5-4DFB-C544-ADD8-C67F141CCE2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 l="12333"/>
          <a:stretch/>
        </p:blipFill>
        <p:spPr>
          <a:xfrm>
            <a:off x="8508007" y="2985397"/>
            <a:ext cx="3683904" cy="2933656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C08634D-98C1-F544-AA1B-B72FE9D560A9}"/>
              </a:ext>
            </a:extLst>
          </p:cNvPr>
          <p:cNvSpPr txBox="1">
            <a:spLocks/>
          </p:cNvSpPr>
          <p:nvPr/>
        </p:nvSpPr>
        <p:spPr bwMode="gray">
          <a:xfrm>
            <a:off x="3382399" y="1007299"/>
            <a:ext cx="8365907" cy="92333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3733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2133" baseline="0">
                <a:solidFill>
                  <a:schemeClr val="bg1"/>
                </a:solidFill>
                <a:latin typeface="+mn-lt"/>
              </a:defRPr>
            </a:lvl2pPr>
            <a:lvl3pPr marL="457200" indent="-26193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CA" sz="3000" b="1" dirty="0"/>
              <a:t>Solving Integer Linear Programming in Python: The Colouring Problem Case</a:t>
            </a:r>
            <a:endParaRPr lang="en-US" sz="3000" kern="0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58319BC-96E1-C841-A3B5-926638D90F3A}"/>
              </a:ext>
            </a:extLst>
          </p:cNvPr>
          <p:cNvSpPr txBox="1">
            <a:spLocks/>
          </p:cNvSpPr>
          <p:nvPr/>
        </p:nvSpPr>
        <p:spPr bwMode="gray">
          <a:xfrm>
            <a:off x="3382399" y="2169366"/>
            <a:ext cx="8911112" cy="28732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867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2133" baseline="0">
                <a:solidFill>
                  <a:schemeClr val="bg1"/>
                </a:solidFill>
                <a:latin typeface="+mn-lt"/>
              </a:defRPr>
            </a:lvl2pPr>
            <a:lvl3pPr marL="457200" indent="-26193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/>
              <a:t>Dec 9</a:t>
            </a:r>
            <a:r>
              <a:rPr lang="en-US" kern="0" baseline="30000" dirty="0"/>
              <a:t>th</a:t>
            </a:r>
            <a:r>
              <a:rPr lang="en-US" kern="0" dirty="0"/>
              <a:t> , 2021</a:t>
            </a:r>
          </a:p>
        </p:txBody>
      </p:sp>
      <p:pic>
        <p:nvPicPr>
          <p:cNvPr id="7" name="Picture 22" descr="Image result for &quot;Fording River Operations&quot;">
            <a:extLst>
              <a:ext uri="{FF2B5EF4-FFF2-40B4-BE49-F238E27FC236}">
                <a16:creationId xmlns:a16="http://schemas.microsoft.com/office/drawing/2014/main" id="{5FB64C9A-82C1-374D-B833-415C28A488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03" r="11353"/>
          <a:stretch/>
        </p:blipFill>
        <p:spPr bwMode="auto">
          <a:xfrm>
            <a:off x="4685706" y="2985397"/>
            <a:ext cx="3822301" cy="293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76339747-32DB-6B4C-9A15-78203C5F79C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388783" y="2906318"/>
            <a:ext cx="210887" cy="30127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0799" tIns="146809" rIns="172717" bIns="146809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2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80429" defTabSz="932909" fontAlgn="base"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defRPr/>
            </a:pPr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FE212966-7105-9345-ACD2-F5EA77B961D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88598" y="2906318"/>
            <a:ext cx="210887" cy="30127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0799" tIns="146809" rIns="172717" bIns="146809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2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80429" defTabSz="932909" fontAlgn="base"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defRPr/>
            </a:pPr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01848FAB-A026-BE44-9123-539D69EE6338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994793" y="-3189594"/>
            <a:ext cx="210887" cy="1219182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0799" tIns="146809" rIns="172717" bIns="146809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2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80429" defTabSz="932909" fontAlgn="base"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defRPr/>
            </a:pPr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34CCE7D7-F577-5940-91A8-181BFD5229C2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994793" y="-103998"/>
            <a:ext cx="210887" cy="1219182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0799" tIns="146809" rIns="172717" bIns="146809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2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80429" defTabSz="932909" fontAlgn="base"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defRPr/>
            </a:pPr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CF2F5F6-1D8B-7640-9F69-0BD7D6DCD0EF}"/>
              </a:ext>
            </a:extLst>
          </p:cNvPr>
          <p:cNvSpPr txBox="1">
            <a:spLocks/>
          </p:cNvSpPr>
          <p:nvPr/>
        </p:nvSpPr>
        <p:spPr bwMode="gray">
          <a:xfrm>
            <a:off x="385199" y="6313937"/>
            <a:ext cx="4973208" cy="28732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867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2133" baseline="0">
                <a:solidFill>
                  <a:schemeClr val="bg1"/>
                </a:solidFill>
                <a:latin typeface="+mn-lt"/>
              </a:defRPr>
            </a:lvl2pPr>
            <a:lvl3pPr marL="457200" indent="-26193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/>
              <a:t>Juan D. Chacon – CSCR team Data Scientist</a:t>
            </a:r>
          </a:p>
        </p:txBody>
      </p:sp>
    </p:spTree>
    <p:extLst>
      <p:ext uri="{BB962C8B-B14F-4D97-AF65-F5344CB8AC3E}">
        <p14:creationId xmlns:p14="http://schemas.microsoft.com/office/powerpoint/2010/main" val="39895261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34558ACA-65E9-384A-A038-1F4A75941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462" y="1738276"/>
            <a:ext cx="4507230" cy="467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" name="Picture 2">
            <a:extLst>
              <a:ext uri="{FF2B5EF4-FFF2-40B4-BE49-F238E27FC236}">
                <a16:creationId xmlns:a16="http://schemas.microsoft.com/office/drawing/2014/main" id="{7A1E6BCE-E9E3-8445-85B8-4DF970D00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110" y="1998626"/>
            <a:ext cx="4622800" cy="3384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0B99802-ACE3-EE44-AF1B-9006FAE42AC5}"/>
              </a:ext>
            </a:extLst>
          </p:cNvPr>
          <p:cNvSpPr txBox="1"/>
          <p:nvPr/>
        </p:nvSpPr>
        <p:spPr>
          <a:xfrm>
            <a:off x="7931930" y="5383176"/>
            <a:ext cx="2502608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5"/>
              </a:rPr>
              <a:t>Check it in Google Colab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92D29BE-BB20-B54F-889E-3395EF13E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14284436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196" y="286244"/>
            <a:ext cx="11488993" cy="307777"/>
          </a:xfrm>
        </p:spPr>
        <p:txBody>
          <a:bodyPr/>
          <a:lstStyle/>
          <a:p>
            <a:r>
              <a:rPr lang="en-US" dirty="0"/>
              <a:t>A Tighter Formul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859786" y="1174461"/>
            <a:ext cx="5236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If we had the set of feasible integer points tighter constrained, the B&amp;B algorithm might be faster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1AD72B-5781-5042-A7CC-7DA554A5A1A3}"/>
              </a:ext>
            </a:extLst>
          </p:cNvPr>
          <p:cNvSpPr txBox="1"/>
          <p:nvPr/>
        </p:nvSpPr>
        <p:spPr>
          <a:xfrm>
            <a:off x="6582041" y="1163079"/>
            <a:ext cx="5110391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ever, It does not always require the same number of constraints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60DE907D-AA0A-9C40-88E7-E36BF18D50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64" y="1820792"/>
            <a:ext cx="2997200" cy="367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:a16="http://schemas.microsoft.com/office/drawing/2014/main" id="{021BF4AE-EB2F-8948-B5AA-489EF93EB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717" y="2958908"/>
            <a:ext cx="1536700" cy="115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F758DB5D-6B20-F045-AA5D-87DEC88E8C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998626"/>
            <a:ext cx="3251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>
            <a:extLst>
              <a:ext uri="{FF2B5EF4-FFF2-40B4-BE49-F238E27FC236}">
                <a16:creationId xmlns:a16="http://schemas.microsoft.com/office/drawing/2014/main" id="{99FC2DAB-01F0-AF41-939C-D11CBA1AAD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6909" y="1998626"/>
            <a:ext cx="3251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72948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03" y="278865"/>
            <a:ext cx="11488993" cy="307777"/>
          </a:xfrm>
        </p:spPr>
        <p:txBody>
          <a:bodyPr/>
          <a:lstStyle/>
          <a:p>
            <a:r>
              <a:rPr lang="en-US" dirty="0"/>
              <a:t>Mathematical Programming &amp; Software Develop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970630-D9F8-4544-9B2E-B72266684F33}"/>
              </a:ext>
            </a:extLst>
          </p:cNvPr>
          <p:cNvSpPr txBox="1"/>
          <p:nvPr/>
        </p:nvSpPr>
        <p:spPr>
          <a:xfrm>
            <a:off x="778696" y="111777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e Flow</a:t>
            </a:r>
          </a:p>
        </p:txBody>
      </p:sp>
      <p:pic>
        <p:nvPicPr>
          <p:cNvPr id="32770" name="Picture 2">
            <a:extLst>
              <a:ext uri="{FF2B5EF4-FFF2-40B4-BE49-F238E27FC236}">
                <a16:creationId xmlns:a16="http://schemas.microsoft.com/office/drawing/2014/main" id="{A7DA399B-B56D-DD42-90A2-167701F71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007" y="1487109"/>
            <a:ext cx="9290474" cy="3836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80545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3970630-D9F8-4544-9B2E-B72266684F33}"/>
              </a:ext>
            </a:extLst>
          </p:cNvPr>
          <p:cNvSpPr txBox="1"/>
          <p:nvPr/>
        </p:nvSpPr>
        <p:spPr>
          <a:xfrm>
            <a:off x="778696" y="111777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e Flow</a:t>
            </a:r>
          </a:p>
        </p:txBody>
      </p:sp>
      <p:pic>
        <p:nvPicPr>
          <p:cNvPr id="32770" name="Picture 2">
            <a:extLst>
              <a:ext uri="{FF2B5EF4-FFF2-40B4-BE49-F238E27FC236}">
                <a16:creationId xmlns:a16="http://schemas.microsoft.com/office/drawing/2014/main" id="{A7DA399B-B56D-DD42-90A2-167701F71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223" y="1087798"/>
            <a:ext cx="4975328" cy="2054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39CC84C-9046-9C45-B8A9-95C42C4416F0}"/>
              </a:ext>
            </a:extLst>
          </p:cNvPr>
          <p:cNvSpPr/>
          <p:nvPr/>
        </p:nvSpPr>
        <p:spPr>
          <a:xfrm>
            <a:off x="7201656" y="1745757"/>
            <a:ext cx="1067723" cy="741015"/>
          </a:xfrm>
          <a:prstGeom prst="rect">
            <a:avLst/>
          </a:prstGeom>
          <a:noFill/>
          <a:ln w="158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51913C-3FB6-C04B-90FF-2DAE31F2B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03" y="278865"/>
            <a:ext cx="11488993" cy="307777"/>
          </a:xfrm>
        </p:spPr>
        <p:txBody>
          <a:bodyPr/>
          <a:lstStyle/>
          <a:p>
            <a:r>
              <a:rPr lang="en-US" dirty="0"/>
              <a:t>Mathematical Programming &amp; Software Development</a:t>
            </a:r>
          </a:p>
        </p:txBody>
      </p:sp>
    </p:spTree>
    <p:extLst>
      <p:ext uri="{BB962C8B-B14F-4D97-AF65-F5344CB8AC3E}">
        <p14:creationId xmlns:p14="http://schemas.microsoft.com/office/powerpoint/2010/main" val="6491517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3970630-D9F8-4544-9B2E-B72266684F33}"/>
              </a:ext>
            </a:extLst>
          </p:cNvPr>
          <p:cNvSpPr txBox="1"/>
          <p:nvPr/>
        </p:nvSpPr>
        <p:spPr>
          <a:xfrm>
            <a:off x="778696" y="111777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e Flo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2B70A2-7FA5-2247-AE5E-B7F1260DE6E8}"/>
              </a:ext>
            </a:extLst>
          </p:cNvPr>
          <p:cNvSpPr txBox="1"/>
          <p:nvPr/>
        </p:nvSpPr>
        <p:spPr>
          <a:xfrm>
            <a:off x="1022118" y="3715517"/>
            <a:ext cx="9805236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1. Use optimization modeling packages </a:t>
            </a:r>
            <a:r>
              <a:rPr lang="en-US" dirty="0"/>
              <a:t>to avoid the burden of working directly with matrices. It will make the model easier to formulate, interpret and debug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081F73-BDED-6B40-BDE4-BAF90316FCA4}"/>
              </a:ext>
            </a:extLst>
          </p:cNvPr>
          <p:cNvSpPr txBox="1"/>
          <p:nvPr/>
        </p:nvSpPr>
        <p:spPr>
          <a:xfrm>
            <a:off x="1024378" y="5340376"/>
            <a:ext cx="9717003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3. Cover all your code with tests </a:t>
            </a:r>
            <a:r>
              <a:rPr lang="en-US" dirty="0"/>
              <a:t>to be able to fall asleep. It is very important to find issues in the model formulation. Integration tests will work well as they cover the processing code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22121E-2052-6D44-81D9-5CCCEBD2C7AE}"/>
              </a:ext>
            </a:extLst>
          </p:cNvPr>
          <p:cNvSpPr txBox="1"/>
          <p:nvPr/>
        </p:nvSpPr>
        <p:spPr>
          <a:xfrm>
            <a:off x="1022118" y="4483890"/>
            <a:ext cx="9805236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2. Use object-oriented programming </a:t>
            </a:r>
            <a:r>
              <a:rPr lang="en-US" dirty="0"/>
              <a:t>to keep your code clean, easy to maintain, avoid code duplication and get rid of unnecessary cognitive load. While using it keep in mind the SOLID principles.</a:t>
            </a:r>
            <a:endParaRPr 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4C787C-F03D-6148-901E-7E950A89CE6C}"/>
              </a:ext>
            </a:extLst>
          </p:cNvPr>
          <p:cNvSpPr txBox="1"/>
          <p:nvPr/>
        </p:nvSpPr>
        <p:spPr>
          <a:xfrm>
            <a:off x="778696" y="3284515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commendations</a:t>
            </a:r>
          </a:p>
        </p:txBody>
      </p:sp>
      <p:pic>
        <p:nvPicPr>
          <p:cNvPr id="32770" name="Picture 2">
            <a:extLst>
              <a:ext uri="{FF2B5EF4-FFF2-40B4-BE49-F238E27FC236}">
                <a16:creationId xmlns:a16="http://schemas.microsoft.com/office/drawing/2014/main" id="{A7DA399B-B56D-DD42-90A2-167701F71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223" y="1087798"/>
            <a:ext cx="4975328" cy="2054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39CC84C-9046-9C45-B8A9-95C42C4416F0}"/>
              </a:ext>
            </a:extLst>
          </p:cNvPr>
          <p:cNvSpPr/>
          <p:nvPr/>
        </p:nvSpPr>
        <p:spPr>
          <a:xfrm>
            <a:off x="7201656" y="1745757"/>
            <a:ext cx="1067723" cy="741015"/>
          </a:xfrm>
          <a:prstGeom prst="rect">
            <a:avLst/>
          </a:prstGeom>
          <a:noFill/>
          <a:ln w="158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9CDF84C-2E71-A744-9BB1-E71E679F8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03" y="278865"/>
            <a:ext cx="11488993" cy="307777"/>
          </a:xfrm>
        </p:spPr>
        <p:txBody>
          <a:bodyPr/>
          <a:lstStyle/>
          <a:p>
            <a:r>
              <a:rPr lang="en-US" dirty="0"/>
              <a:t>Mathematical Programming &amp; Software Development</a:t>
            </a:r>
          </a:p>
        </p:txBody>
      </p:sp>
    </p:spTree>
    <p:extLst>
      <p:ext uri="{BB962C8B-B14F-4D97-AF65-F5344CB8AC3E}">
        <p14:creationId xmlns:p14="http://schemas.microsoft.com/office/powerpoint/2010/main" val="24055847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747" y="288136"/>
            <a:ext cx="11488993" cy="307777"/>
          </a:xfrm>
        </p:spPr>
        <p:txBody>
          <a:bodyPr/>
          <a:lstStyle/>
          <a:p>
            <a:r>
              <a:rPr lang="en-US" dirty="0"/>
              <a:t>Graph Coloring Proble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Source: reddit/MapPorn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8327" y="1701485"/>
            <a:ext cx="3621431" cy="362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244" y="1618284"/>
            <a:ext cx="3621431" cy="362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5589986" y="2734561"/>
            <a:ext cx="633596" cy="232337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1CBF2E-7AC6-A147-9A17-C45D7AC4DDAD}"/>
              </a:ext>
            </a:extLst>
          </p:cNvPr>
          <p:cNvSpPr txBox="1"/>
          <p:nvPr/>
        </p:nvSpPr>
        <p:spPr>
          <a:xfrm>
            <a:off x="532255" y="5431379"/>
            <a:ext cx="8956298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“Good” </a:t>
            </a:r>
            <a:r>
              <a:rPr lang="en-CA" b="1" dirty="0"/>
              <a:t>color assignation</a:t>
            </a:r>
            <a:r>
              <a:rPr lang="en-US" dirty="0"/>
              <a:t> here means no node has the same color than one of its neighbors.</a:t>
            </a:r>
          </a:p>
        </p:txBody>
      </p:sp>
    </p:spTree>
    <p:extLst>
      <p:ext uri="{BB962C8B-B14F-4D97-AF65-F5344CB8AC3E}">
        <p14:creationId xmlns:p14="http://schemas.microsoft.com/office/powerpoint/2010/main" val="21201516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Source: reddit/MapPorn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68" y="159346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91" y="157009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2796531" y="2201667"/>
            <a:ext cx="399160" cy="174594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4B80615-8DB9-354C-9BBF-03CC2E58D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747" y="288136"/>
            <a:ext cx="11488993" cy="307777"/>
          </a:xfrm>
        </p:spPr>
        <p:txBody>
          <a:bodyPr/>
          <a:lstStyle/>
          <a:p>
            <a:r>
              <a:rPr lang="en-US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1302354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2" descr="4 color theorem applied to Europe : r/MapPorn">
            <a:extLst>
              <a:ext uri="{FF2B5EF4-FFF2-40B4-BE49-F238E27FC236}">
                <a16:creationId xmlns:a16="http://schemas.microsoft.com/office/drawing/2014/main" id="{CD2EB4EB-E69D-3E40-8697-A51E8E85E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8584" y="2803884"/>
            <a:ext cx="4587391" cy="3192257"/>
          </a:xfrm>
          <a:prstGeom prst="rect">
            <a:avLst/>
          </a:prstGeom>
          <a:noFill/>
          <a:effectLst>
            <a:outerShdw blurRad="50800" dist="73649" dir="2700000" sx="100082" sy="100082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11DBDA5-07A9-6143-BA8A-7564B1050441}"/>
              </a:ext>
            </a:extLst>
          </p:cNvPr>
          <p:cNvSpPr txBox="1"/>
          <p:nvPr/>
        </p:nvSpPr>
        <p:spPr>
          <a:xfrm>
            <a:off x="6406067" y="1791101"/>
            <a:ext cx="2302233" cy="8710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xample</a:t>
            </a:r>
          </a:p>
          <a:p>
            <a:r>
              <a:rPr lang="en-US" sz="1630" dirty="0"/>
              <a:t>N: Countries in Europe</a:t>
            </a:r>
          </a:p>
          <a:p>
            <a:r>
              <a:rPr lang="en-US" sz="1630" dirty="0"/>
              <a:t>E: Set of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4"/>
              </a:rPr>
              <a:t>Source: reddit/MapPorn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68" y="159346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91" y="157009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2796531" y="2201667"/>
            <a:ext cx="399160" cy="174594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7B679BD-CA8C-6F48-99B9-02C8F5B57555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16980687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2" descr="4 color theorem applied to Europe : r/MapPorn">
            <a:extLst>
              <a:ext uri="{FF2B5EF4-FFF2-40B4-BE49-F238E27FC236}">
                <a16:creationId xmlns:a16="http://schemas.microsoft.com/office/drawing/2014/main" id="{CD2EB4EB-E69D-3E40-8697-A51E8E85E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8584" y="2803884"/>
            <a:ext cx="4587391" cy="3192257"/>
          </a:xfrm>
          <a:prstGeom prst="rect">
            <a:avLst/>
          </a:prstGeom>
          <a:noFill/>
          <a:effectLst>
            <a:outerShdw blurRad="50800" dist="73649" dir="2700000" sx="100082" sy="100082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11DBDA5-07A9-6143-BA8A-7564B1050441}"/>
              </a:ext>
            </a:extLst>
          </p:cNvPr>
          <p:cNvSpPr txBox="1"/>
          <p:nvPr/>
        </p:nvSpPr>
        <p:spPr>
          <a:xfrm>
            <a:off x="6406067" y="1791101"/>
            <a:ext cx="2302233" cy="8710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xample</a:t>
            </a:r>
          </a:p>
          <a:p>
            <a:r>
              <a:rPr lang="en-US" sz="1630" dirty="0"/>
              <a:t>N: Countries in Europe</a:t>
            </a:r>
          </a:p>
          <a:p>
            <a:r>
              <a:rPr lang="en-US" sz="1630" dirty="0"/>
              <a:t>E: Set of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4"/>
              </a:rPr>
              <a:t>Source: reddit/MapPorn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63BA93-0CA3-ED43-BEA3-525209933F8F}"/>
              </a:ext>
            </a:extLst>
          </p:cNvPr>
          <p:cNvSpPr txBox="1"/>
          <p:nvPr/>
        </p:nvSpPr>
        <p:spPr>
          <a:xfrm>
            <a:off x="448408" y="3740946"/>
            <a:ext cx="5195010" cy="8716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act 1</a:t>
            </a:r>
          </a:p>
          <a:p>
            <a:r>
              <a:rPr lang="en-CA" dirty="0"/>
              <a:t>The </a:t>
            </a:r>
            <a:r>
              <a:rPr lang="en-CA" b="1" dirty="0"/>
              <a:t>optimal coloring</a:t>
            </a:r>
            <a:r>
              <a:rPr lang="en-CA" dirty="0"/>
              <a:t> requires less than the size of the biggest neighborhood plus one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68" y="159346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91" y="157009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2796531" y="2201667"/>
            <a:ext cx="399160" cy="174594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4E63B91-1065-6E4E-B430-C6A28A4F8804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25333620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2" descr="4 color theorem applied to Europe : r/MapPorn">
            <a:extLst>
              <a:ext uri="{FF2B5EF4-FFF2-40B4-BE49-F238E27FC236}">
                <a16:creationId xmlns:a16="http://schemas.microsoft.com/office/drawing/2014/main" id="{CD2EB4EB-E69D-3E40-8697-A51E8E85E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8584" y="2803884"/>
            <a:ext cx="4587391" cy="3192257"/>
          </a:xfrm>
          <a:prstGeom prst="rect">
            <a:avLst/>
          </a:prstGeom>
          <a:noFill/>
          <a:effectLst>
            <a:outerShdw blurRad="50800" dist="73649" dir="2700000" sx="100082" sy="100082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11DBDA5-07A9-6143-BA8A-7564B1050441}"/>
              </a:ext>
            </a:extLst>
          </p:cNvPr>
          <p:cNvSpPr txBox="1"/>
          <p:nvPr/>
        </p:nvSpPr>
        <p:spPr>
          <a:xfrm>
            <a:off x="6406067" y="1791101"/>
            <a:ext cx="2302233" cy="8710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xample</a:t>
            </a:r>
          </a:p>
          <a:p>
            <a:r>
              <a:rPr lang="en-US" sz="1630" dirty="0"/>
              <a:t>N: Countries in Europe</a:t>
            </a:r>
          </a:p>
          <a:p>
            <a:r>
              <a:rPr lang="en-US" sz="1630" dirty="0"/>
              <a:t>E: Set of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4"/>
              </a:rPr>
              <a:t>Source: reddit/MapPorn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63BA93-0CA3-ED43-BEA3-525209933F8F}"/>
              </a:ext>
            </a:extLst>
          </p:cNvPr>
          <p:cNvSpPr txBox="1"/>
          <p:nvPr/>
        </p:nvSpPr>
        <p:spPr>
          <a:xfrm>
            <a:off x="448408" y="3740946"/>
            <a:ext cx="5195010" cy="8716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act 1</a:t>
            </a:r>
          </a:p>
          <a:p>
            <a:r>
              <a:rPr lang="en-CA" dirty="0"/>
              <a:t>The </a:t>
            </a:r>
            <a:r>
              <a:rPr lang="en-CA" b="1" dirty="0"/>
              <a:t>optimal coloring</a:t>
            </a:r>
            <a:r>
              <a:rPr lang="en-CA" dirty="0"/>
              <a:t> requires less than the size of the biggest neighborhood plus one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43A8397-9DB2-EE4B-A730-B92BECA43AC4}"/>
              </a:ext>
            </a:extLst>
          </p:cNvPr>
          <p:cNvSpPr txBox="1"/>
          <p:nvPr/>
        </p:nvSpPr>
        <p:spPr>
          <a:xfrm>
            <a:off x="448407" y="4949794"/>
            <a:ext cx="5278137" cy="620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act 2</a:t>
            </a:r>
          </a:p>
          <a:p>
            <a:r>
              <a:rPr lang="en-CA" dirty="0"/>
              <a:t>Every countries like map can be coloured with 4 colors</a:t>
            </a:r>
            <a:endParaRPr lang="en-US" dirty="0"/>
          </a:p>
        </p:txBody>
      </p:sp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68" y="159346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91" y="157009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2796531" y="2201667"/>
            <a:ext cx="399160" cy="174594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0859865-AC1F-6142-97D2-50783EC445EA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32592060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CED2C7-4AEE-46B2-A79B-1E51750F3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CED2C7-4AEE-46B2-A79B-1E51750F3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A574BA0-0584-4DE9-A9CE-D76B98D601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AU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25A81E-F854-45E6-904B-2B4CA3E32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760" y="274638"/>
            <a:ext cx="11488993" cy="307777"/>
          </a:xfrm>
        </p:spPr>
        <p:txBody>
          <a:bodyPr/>
          <a:lstStyle/>
          <a:p>
            <a:r>
              <a:rPr lang="en-US" dirty="0"/>
              <a:t>Today's Journey</a:t>
            </a:r>
          </a:p>
        </p:txBody>
      </p:sp>
      <p:sp>
        <p:nvSpPr>
          <p:cNvPr id="32" name="AutoShape 25">
            <a:extLst>
              <a:ext uri="{FF2B5EF4-FFF2-40B4-BE49-F238E27FC236}">
                <a16:creationId xmlns:a16="http://schemas.microsoft.com/office/drawing/2014/main" id="{E47ACC31-9CF7-1345-9E9B-359B8D420BA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7000" y="-3063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AutoShape 26">
            <a:extLst>
              <a:ext uri="{FF2B5EF4-FFF2-40B4-BE49-F238E27FC236}">
                <a16:creationId xmlns:a16="http://schemas.microsoft.com/office/drawing/2014/main" id="{10F0453B-D4B7-8242-AF6F-8F6E6A54AD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7000" y="-2225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AutoShape 27">
            <a:extLst>
              <a:ext uri="{FF2B5EF4-FFF2-40B4-BE49-F238E27FC236}">
                <a16:creationId xmlns:a16="http://schemas.microsoft.com/office/drawing/2014/main" id="{88259258-73CD-1748-986F-F7C75208A12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7000" y="80803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AutoShape 28">
            <a:extLst>
              <a:ext uri="{FF2B5EF4-FFF2-40B4-BE49-F238E27FC236}">
                <a16:creationId xmlns:a16="http://schemas.microsoft.com/office/drawing/2014/main" id="{E99868DD-68D7-AA49-A176-C50C101F92F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7000" y="164623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1C45E8-3875-BA4E-8291-0882367ECEEC}"/>
              </a:ext>
            </a:extLst>
          </p:cNvPr>
          <p:cNvSpPr txBox="1"/>
          <p:nvPr/>
        </p:nvSpPr>
        <p:spPr>
          <a:xfrm>
            <a:off x="1299101" y="1951038"/>
            <a:ext cx="779409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CA" sz="1800" dirty="0"/>
              <a:t>An example to illustrate Branch and Bound</a:t>
            </a:r>
          </a:p>
          <a:p>
            <a:pPr marL="342900" indent="-342900">
              <a:buFont typeface="+mj-lt"/>
              <a:buAutoNum type="arabicPeriod"/>
            </a:pPr>
            <a:endParaRPr lang="en-CA" sz="1800" dirty="0"/>
          </a:p>
          <a:p>
            <a:pPr marL="342900" indent="-342900">
              <a:buFont typeface="+mj-lt"/>
              <a:buAutoNum type="arabicPeriod"/>
            </a:pPr>
            <a:r>
              <a:rPr lang="en-CA" sz="1800" dirty="0"/>
              <a:t>About Mathematical Programming &amp; Software Development</a:t>
            </a:r>
          </a:p>
          <a:p>
            <a:pPr marL="342900" indent="-342900">
              <a:buFont typeface="+mj-lt"/>
              <a:buAutoNum type="arabicPeriod"/>
            </a:pPr>
            <a:endParaRPr lang="en-CA" sz="1800" dirty="0"/>
          </a:p>
          <a:p>
            <a:pPr marL="342900" indent="-342900">
              <a:buFont typeface="+mj-lt"/>
              <a:buAutoNum type="arabicPeriod"/>
            </a:pPr>
            <a:r>
              <a:rPr lang="en-CA" sz="1800" dirty="0"/>
              <a:t>The Graph Coloring toy problem</a:t>
            </a:r>
          </a:p>
          <a:p>
            <a:pPr marL="342900" indent="-342900">
              <a:buFont typeface="+mj-lt"/>
              <a:buAutoNum type="arabicPeriod"/>
            </a:pPr>
            <a:endParaRPr lang="en-CA" sz="1800" dirty="0"/>
          </a:p>
          <a:p>
            <a:pPr marL="752204" lvl="1" indent="-285750">
              <a:buFont typeface="Arial" panose="020B0604020202020204" pitchFamily="34" charset="0"/>
              <a:buChar char="•"/>
            </a:pPr>
            <a:r>
              <a:rPr lang="en-CA" sz="1800" dirty="0"/>
              <a:t> How to formulate it as a MILP</a:t>
            </a:r>
          </a:p>
          <a:p>
            <a:pPr marL="752204" lvl="1" indent="-285750">
              <a:buFont typeface="Arial" panose="020B0604020202020204" pitchFamily="34" charset="0"/>
              <a:buChar char="•"/>
            </a:pPr>
            <a:r>
              <a:rPr lang="en-CA" sz="1800" dirty="0"/>
              <a:t> How to solve it using a LP modeller package</a:t>
            </a:r>
          </a:p>
        </p:txBody>
      </p:sp>
    </p:spTree>
    <p:extLst>
      <p:ext uri="{BB962C8B-B14F-4D97-AF65-F5344CB8AC3E}">
        <p14:creationId xmlns:p14="http://schemas.microsoft.com/office/powerpoint/2010/main" val="4229733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77EC628-9AFE-E845-8FC5-5CAF8D6E1090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983784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DC1D1D7-DC17-694A-9DA6-A37B239FBC91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41473293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5B23629-AFFC-2047-B2CC-E2DA7165CECF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33612641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79907345-C396-5944-89DC-AB7433A75EAE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21555734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4" name="Picture 24">
            <a:extLst>
              <a:ext uri="{FF2B5EF4-FFF2-40B4-BE49-F238E27FC236}">
                <a16:creationId xmlns:a16="http://schemas.microsoft.com/office/drawing/2014/main" id="{DAB904E4-CDC6-9E48-A915-E08DC7111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5" t="21133" r="23114" b="29173"/>
          <a:stretch/>
        </p:blipFill>
        <p:spPr bwMode="auto">
          <a:xfrm>
            <a:off x="1021681" y="5622030"/>
            <a:ext cx="3687647" cy="49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DC15072-EEB8-E647-8551-B2DFFFAD0CED}"/>
              </a:ext>
            </a:extLst>
          </p:cNvPr>
          <p:cNvSpPr txBox="1"/>
          <p:nvPr/>
        </p:nvSpPr>
        <p:spPr>
          <a:xfrm>
            <a:off x="609018" y="5342085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F4B9C5D-E605-7249-A34F-8FEA786533A9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25328903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4" name="Picture 24">
            <a:extLst>
              <a:ext uri="{FF2B5EF4-FFF2-40B4-BE49-F238E27FC236}">
                <a16:creationId xmlns:a16="http://schemas.microsoft.com/office/drawing/2014/main" id="{DAB904E4-CDC6-9E48-A915-E08DC7111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5" t="21133" r="23114" b="29173"/>
          <a:stretch/>
        </p:blipFill>
        <p:spPr bwMode="auto">
          <a:xfrm>
            <a:off x="1021681" y="5622030"/>
            <a:ext cx="3687647" cy="49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pic>
        <p:nvPicPr>
          <p:cNvPr id="5154" name="Picture 34">
            <a:extLst>
              <a:ext uri="{FF2B5EF4-FFF2-40B4-BE49-F238E27FC236}">
                <a16:creationId xmlns:a16="http://schemas.microsoft.com/office/drawing/2014/main" id="{C43DC09D-2328-F74E-9A0F-4228EE4C34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5665002" y="4339925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DA9CB29-AF6A-B645-94BA-3AB3E77D5297}"/>
              </a:ext>
            </a:extLst>
          </p:cNvPr>
          <p:cNvSpPr txBox="1"/>
          <p:nvPr/>
        </p:nvSpPr>
        <p:spPr>
          <a:xfrm>
            <a:off x="5665002" y="3835953"/>
            <a:ext cx="287129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neighbors share color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3813EFB-AA10-564C-AC65-DFB2B7A08CF9}"/>
              </a:ext>
            </a:extLst>
          </p:cNvPr>
          <p:cNvSpPr txBox="1"/>
          <p:nvPr/>
        </p:nvSpPr>
        <p:spPr>
          <a:xfrm>
            <a:off x="609018" y="5342085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65F707-2B63-5743-9DD3-26A56AFED220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30829737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58" name="Picture 38">
            <a:extLst>
              <a:ext uri="{FF2B5EF4-FFF2-40B4-BE49-F238E27FC236}">
                <a16:creationId xmlns:a16="http://schemas.microsoft.com/office/drawing/2014/main" id="{FF4683DF-0AEE-2E44-85C1-5E9E324DFA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01" t="-12542" r="7523" b="-4324"/>
          <a:stretch/>
        </p:blipFill>
        <p:spPr bwMode="auto">
          <a:xfrm>
            <a:off x="5665002" y="4943767"/>
            <a:ext cx="5975928" cy="771782"/>
          </a:xfrm>
          <a:prstGeom prst="rect">
            <a:avLst/>
          </a:prstGeom>
          <a:noFill/>
          <a:ln w="254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4" name="Picture 24">
            <a:extLst>
              <a:ext uri="{FF2B5EF4-FFF2-40B4-BE49-F238E27FC236}">
                <a16:creationId xmlns:a16="http://schemas.microsoft.com/office/drawing/2014/main" id="{DAB904E4-CDC6-9E48-A915-E08DC7111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5" t="21133" r="23114" b="29173"/>
          <a:stretch/>
        </p:blipFill>
        <p:spPr bwMode="auto">
          <a:xfrm>
            <a:off x="1021681" y="5622030"/>
            <a:ext cx="3687647" cy="49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pic>
        <p:nvPicPr>
          <p:cNvPr id="5154" name="Picture 34">
            <a:extLst>
              <a:ext uri="{FF2B5EF4-FFF2-40B4-BE49-F238E27FC236}">
                <a16:creationId xmlns:a16="http://schemas.microsoft.com/office/drawing/2014/main" id="{C43DC09D-2328-F74E-9A0F-4228EE4C34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5665002" y="4339925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DA9CB29-AF6A-B645-94BA-3AB3E77D5297}"/>
              </a:ext>
            </a:extLst>
          </p:cNvPr>
          <p:cNvSpPr txBox="1"/>
          <p:nvPr/>
        </p:nvSpPr>
        <p:spPr>
          <a:xfrm>
            <a:off x="5665002" y="3835953"/>
            <a:ext cx="287129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neighbors share color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85CBCEF-C4EA-B642-8849-6DAA3A3A9805}"/>
              </a:ext>
            </a:extLst>
          </p:cNvPr>
          <p:cNvSpPr txBox="1"/>
          <p:nvPr/>
        </p:nvSpPr>
        <p:spPr>
          <a:xfrm>
            <a:off x="609018" y="5342085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6C4F481-F4A1-B54A-950C-6CE68FBBAEAC}"/>
              </a:ext>
            </a:extLst>
          </p:cNvPr>
          <p:cNvSpPr txBox="1"/>
          <p:nvPr/>
        </p:nvSpPr>
        <p:spPr>
          <a:xfrm>
            <a:off x="5479695" y="4693566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E442C21-2B6A-1341-8D9E-97955A34FCE9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22982501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58" name="Picture 38">
            <a:extLst>
              <a:ext uri="{FF2B5EF4-FFF2-40B4-BE49-F238E27FC236}">
                <a16:creationId xmlns:a16="http://schemas.microsoft.com/office/drawing/2014/main" id="{FF4683DF-0AEE-2E44-85C1-5E9E324DFA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01" t="-12542" r="7523" b="-4324"/>
          <a:stretch/>
        </p:blipFill>
        <p:spPr bwMode="auto">
          <a:xfrm>
            <a:off x="5665002" y="4943767"/>
            <a:ext cx="5975928" cy="771782"/>
          </a:xfrm>
          <a:prstGeom prst="rect">
            <a:avLst/>
          </a:prstGeom>
          <a:noFill/>
          <a:ln w="254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4" name="Picture 24">
            <a:extLst>
              <a:ext uri="{FF2B5EF4-FFF2-40B4-BE49-F238E27FC236}">
                <a16:creationId xmlns:a16="http://schemas.microsoft.com/office/drawing/2014/main" id="{DAB904E4-CDC6-9E48-A915-E08DC7111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5" t="21133" r="23114" b="29173"/>
          <a:stretch/>
        </p:blipFill>
        <p:spPr bwMode="auto">
          <a:xfrm>
            <a:off x="1021681" y="5622030"/>
            <a:ext cx="3687647" cy="49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pic>
        <p:nvPicPr>
          <p:cNvPr id="5154" name="Picture 34">
            <a:extLst>
              <a:ext uri="{FF2B5EF4-FFF2-40B4-BE49-F238E27FC236}">
                <a16:creationId xmlns:a16="http://schemas.microsoft.com/office/drawing/2014/main" id="{C43DC09D-2328-F74E-9A0F-4228EE4C34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5665002" y="4339925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30ECA8D-72A6-F846-8433-CB3BB8D28B9D}"/>
              </a:ext>
            </a:extLst>
          </p:cNvPr>
          <p:cNvSpPr txBox="1"/>
          <p:nvPr/>
        </p:nvSpPr>
        <p:spPr>
          <a:xfrm>
            <a:off x="10483461" y="5370643"/>
            <a:ext cx="1055097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Incorrect!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DA9CB29-AF6A-B645-94BA-3AB3E77D5297}"/>
              </a:ext>
            </a:extLst>
          </p:cNvPr>
          <p:cNvSpPr txBox="1"/>
          <p:nvPr/>
        </p:nvSpPr>
        <p:spPr>
          <a:xfrm>
            <a:off x="5665002" y="3835953"/>
            <a:ext cx="287129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neighbors share color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87D4F5-F7B3-624C-96D1-995EF4AD61B1}"/>
              </a:ext>
            </a:extLst>
          </p:cNvPr>
          <p:cNvSpPr/>
          <p:nvPr/>
        </p:nvSpPr>
        <p:spPr>
          <a:xfrm>
            <a:off x="5665002" y="4943767"/>
            <a:ext cx="5985978" cy="87514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0C89B4-11E8-6D46-9B3E-4A7788EF469F}"/>
              </a:ext>
            </a:extLst>
          </p:cNvPr>
          <p:cNvSpPr txBox="1"/>
          <p:nvPr/>
        </p:nvSpPr>
        <p:spPr>
          <a:xfrm>
            <a:off x="609018" y="5342085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93D787DA-1AD6-9A48-B3BE-0E4A0F51FD9E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30553276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E04F5F-410C-544E-8280-A63FE7D74A53}"/>
              </a:ext>
            </a:extLst>
          </p:cNvPr>
          <p:cNvSpPr txBox="1"/>
          <p:nvPr/>
        </p:nvSpPr>
        <p:spPr>
          <a:xfrm>
            <a:off x="1832565" y="1788541"/>
            <a:ext cx="71489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Proble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Colouring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sense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Minimiz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37873" y="1432514"/>
            <a:ext cx="209544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Problem definition</a:t>
            </a:r>
          </a:p>
        </p:txBody>
      </p:sp>
    </p:spTree>
    <p:extLst>
      <p:ext uri="{BB962C8B-B14F-4D97-AF65-F5344CB8AC3E}">
        <p14:creationId xmlns:p14="http://schemas.microsoft.com/office/powerpoint/2010/main" val="19689232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496876B-D230-5643-BED1-8A0A60EBF2C9}"/>
              </a:ext>
            </a:extLst>
          </p:cNvPr>
          <p:cNvSpPr txBox="1"/>
          <p:nvPr/>
        </p:nvSpPr>
        <p:spPr>
          <a:xfrm>
            <a:off x="437873" y="2621878"/>
            <a:ext cx="220656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Variables Defini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E04F5F-410C-544E-8280-A63FE7D74A53}"/>
              </a:ext>
            </a:extLst>
          </p:cNvPr>
          <p:cNvSpPr txBox="1"/>
          <p:nvPr/>
        </p:nvSpPr>
        <p:spPr>
          <a:xfrm>
            <a:off x="1832565" y="1788541"/>
            <a:ext cx="71489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Proble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Colouring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sense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Minimiz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37873" y="1432514"/>
            <a:ext cx="209544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Problem defini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AEBB38-8915-C949-9F71-A2499E01BA58}"/>
              </a:ext>
            </a:extLst>
          </p:cNvPr>
          <p:cNvSpPr txBox="1"/>
          <p:nvPr/>
        </p:nvSpPr>
        <p:spPr>
          <a:xfrm>
            <a:off x="6921979" y="2675018"/>
            <a:ext cx="5478345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x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Variable.dicts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x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indices=product(nodes, colors)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cat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Binary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z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Variabl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z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lowBound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=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0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	cat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Countinuous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D14550B-124B-B446-A83D-1B847C8AD681}"/>
              </a:ext>
            </a:extLst>
          </p:cNvPr>
          <p:cNvCxnSpPr>
            <a:cxnSpLocks/>
          </p:cNvCxnSpPr>
          <p:nvPr/>
        </p:nvCxnSpPr>
        <p:spPr>
          <a:xfrm>
            <a:off x="4862092" y="3088443"/>
            <a:ext cx="2059887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A914870-EE6C-7744-8A13-7B92868BC7B1}"/>
              </a:ext>
            </a:extLst>
          </p:cNvPr>
          <p:cNvCxnSpPr>
            <a:cxnSpLocks/>
          </p:cNvCxnSpPr>
          <p:nvPr/>
        </p:nvCxnSpPr>
        <p:spPr>
          <a:xfrm>
            <a:off x="3734507" y="3898897"/>
            <a:ext cx="318747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0" name="Picture 2">
            <a:extLst>
              <a:ext uri="{FF2B5EF4-FFF2-40B4-BE49-F238E27FC236}">
                <a16:creationId xmlns:a16="http://schemas.microsoft.com/office/drawing/2014/main" id="{A911F0B9-0DA2-EB48-99C8-3880D3E903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65" b="32668"/>
          <a:stretch/>
        </p:blipFill>
        <p:spPr bwMode="auto">
          <a:xfrm>
            <a:off x="544181" y="3008539"/>
            <a:ext cx="4724400" cy="57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>
            <a:extLst>
              <a:ext uri="{FF2B5EF4-FFF2-40B4-BE49-F238E27FC236}">
                <a16:creationId xmlns:a16="http://schemas.microsoft.com/office/drawing/2014/main" id="{738A08C0-8FD7-4442-AB2D-7DDAA29257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1" t="17982" r="14931" b="28561"/>
          <a:stretch/>
        </p:blipFill>
        <p:spPr bwMode="auto">
          <a:xfrm>
            <a:off x="427711" y="3704453"/>
            <a:ext cx="3306796" cy="56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3ADE1CA-C21E-ED49-9CA4-0BC007AE1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2890539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351" y="1998993"/>
            <a:ext cx="4320000" cy="3211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</p:spTree>
    <p:extLst>
      <p:ext uri="{BB962C8B-B14F-4D97-AF65-F5344CB8AC3E}">
        <p14:creationId xmlns:p14="http://schemas.microsoft.com/office/powerpoint/2010/main" val="14287487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496876B-D230-5643-BED1-8A0A60EBF2C9}"/>
              </a:ext>
            </a:extLst>
          </p:cNvPr>
          <p:cNvSpPr txBox="1"/>
          <p:nvPr/>
        </p:nvSpPr>
        <p:spPr>
          <a:xfrm>
            <a:off x="437873" y="2621878"/>
            <a:ext cx="220656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Variables Defini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A74E55-8624-394A-86C5-6B70CBC342AE}"/>
              </a:ext>
            </a:extLst>
          </p:cNvPr>
          <p:cNvSpPr txBox="1"/>
          <p:nvPr/>
        </p:nvSpPr>
        <p:spPr>
          <a:xfrm>
            <a:off x="437873" y="4910604"/>
            <a:ext cx="200086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Objective Sett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E04F5F-410C-544E-8280-A63FE7D74A53}"/>
              </a:ext>
            </a:extLst>
          </p:cNvPr>
          <p:cNvSpPr txBox="1"/>
          <p:nvPr/>
        </p:nvSpPr>
        <p:spPr>
          <a:xfrm>
            <a:off x="1832565" y="1788541"/>
            <a:ext cx="71489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Proble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Colouring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sense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Minimiz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37873" y="1432514"/>
            <a:ext cx="209544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Problem defini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AEBB38-8915-C949-9F71-A2499E01BA58}"/>
              </a:ext>
            </a:extLst>
          </p:cNvPr>
          <p:cNvSpPr txBox="1"/>
          <p:nvPr/>
        </p:nvSpPr>
        <p:spPr>
          <a:xfrm>
            <a:off x="6921979" y="2675018"/>
            <a:ext cx="5478345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x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Variable.dicts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x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indices=product(nodes, colors)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cat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Binary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z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Variabl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z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lowBound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=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0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	cat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Countinuous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D14550B-124B-B446-A83D-1B847C8AD681}"/>
              </a:ext>
            </a:extLst>
          </p:cNvPr>
          <p:cNvCxnSpPr>
            <a:cxnSpLocks/>
          </p:cNvCxnSpPr>
          <p:nvPr/>
        </p:nvCxnSpPr>
        <p:spPr>
          <a:xfrm>
            <a:off x="4862092" y="3088443"/>
            <a:ext cx="2059887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A914870-EE6C-7744-8A13-7B92868BC7B1}"/>
              </a:ext>
            </a:extLst>
          </p:cNvPr>
          <p:cNvCxnSpPr>
            <a:cxnSpLocks/>
          </p:cNvCxnSpPr>
          <p:nvPr/>
        </p:nvCxnSpPr>
        <p:spPr>
          <a:xfrm>
            <a:off x="3734507" y="3898897"/>
            <a:ext cx="318747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0" name="Picture 2">
            <a:extLst>
              <a:ext uri="{FF2B5EF4-FFF2-40B4-BE49-F238E27FC236}">
                <a16:creationId xmlns:a16="http://schemas.microsoft.com/office/drawing/2014/main" id="{A911F0B9-0DA2-EB48-99C8-3880D3E903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65" b="32668"/>
          <a:stretch/>
        </p:blipFill>
        <p:spPr bwMode="auto">
          <a:xfrm>
            <a:off x="544181" y="3008539"/>
            <a:ext cx="4724400" cy="57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>
            <a:extLst>
              <a:ext uri="{FF2B5EF4-FFF2-40B4-BE49-F238E27FC236}">
                <a16:creationId xmlns:a16="http://schemas.microsoft.com/office/drawing/2014/main" id="{738A08C0-8FD7-4442-AB2D-7DDAA29257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1" t="17982" r="14931" b="28561"/>
          <a:stretch/>
        </p:blipFill>
        <p:spPr bwMode="auto">
          <a:xfrm>
            <a:off x="427711" y="3704453"/>
            <a:ext cx="3306796" cy="56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0">
            <a:extLst>
              <a:ext uri="{FF2B5EF4-FFF2-40B4-BE49-F238E27FC236}">
                <a16:creationId xmlns:a16="http://schemas.microsoft.com/office/drawing/2014/main" id="{A2183294-1D8A-634F-BBCA-A3118E6738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87" y="5304096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1F5788E-2702-7641-9FD0-343555E4AC60}"/>
              </a:ext>
            </a:extLst>
          </p:cNvPr>
          <p:cNvSpPr txBox="1"/>
          <p:nvPr/>
        </p:nvSpPr>
        <p:spPr>
          <a:xfrm>
            <a:off x="6921979" y="5410557"/>
            <a:ext cx="3187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setObjectiv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z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8F59CD4-0B3F-C54A-88F1-D5B24E284C35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1910325" y="5564445"/>
            <a:ext cx="5011654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1F1452A0-183C-B34F-8FEC-1890ACB9C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24927135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428637" y="2575380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7E20824-8102-9747-881C-FA258D01B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41553082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428637" y="2575380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 flipH="1">
            <a:off x="1634836" y="1985818"/>
            <a:ext cx="1062371" cy="58956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B60E500A-613A-2941-98AE-E398A7BA8BD3}"/>
              </a:ext>
            </a:extLst>
          </p:cNvPr>
          <p:cNvSpPr/>
          <p:nvPr/>
        </p:nvSpPr>
        <p:spPr>
          <a:xfrm>
            <a:off x="508000" y="2613892"/>
            <a:ext cx="1948873" cy="23801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897A95-3B60-B04A-A257-E415A4F8B490}"/>
              </a:ext>
            </a:extLst>
          </p:cNvPr>
          <p:cNvSpPr/>
          <p:nvPr/>
        </p:nvSpPr>
        <p:spPr>
          <a:xfrm>
            <a:off x="2535382" y="1722131"/>
            <a:ext cx="1062371" cy="23801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BB43A43-B858-5D49-8F43-CC1115672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20088297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428637" y="2575380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764309" y="2198775"/>
            <a:ext cx="4066309" cy="83075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B60E500A-613A-2941-98AE-E398A7BA8BD3}"/>
              </a:ext>
            </a:extLst>
          </p:cNvPr>
          <p:cNvSpPr/>
          <p:nvPr/>
        </p:nvSpPr>
        <p:spPr>
          <a:xfrm>
            <a:off x="1348509" y="3041146"/>
            <a:ext cx="4913746" cy="23801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9D6373D-F04A-9D46-AE6F-A85E8798EEB5}"/>
              </a:ext>
            </a:extLst>
          </p:cNvPr>
          <p:cNvSpPr/>
          <p:nvPr/>
        </p:nvSpPr>
        <p:spPr>
          <a:xfrm>
            <a:off x="503382" y="1665672"/>
            <a:ext cx="521854" cy="533103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621C65-CFB0-A04A-8C8E-53CD5071A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29284657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8082357C-C651-C74F-BB57-1E68FD9AC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9024327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6">
            <a:extLst>
              <a:ext uri="{FF2B5EF4-FFF2-40B4-BE49-F238E27FC236}">
                <a16:creationId xmlns:a16="http://schemas.microsoft.com/office/drawing/2014/main" id="{E758E2FC-BDB7-6A48-ABD6-EF907BA87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428637" y="2877603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F301C7-D769-234E-ADA4-0403DE2439F9}"/>
              </a:ext>
            </a:extLst>
          </p:cNvPr>
          <p:cNvSpPr txBox="1"/>
          <p:nvPr/>
        </p:nvSpPr>
        <p:spPr>
          <a:xfrm>
            <a:off x="5314671" y="2526628"/>
            <a:ext cx="560822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nodes, colors)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z &gt;= color * x[node, color]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obj_is_maximum_tight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A7AC8BC-52D4-BA48-8D22-A0DF470AECDD}"/>
              </a:ext>
            </a:extLst>
          </p:cNvPr>
          <p:cNvCxnSpPr>
            <a:cxnSpLocks/>
          </p:cNvCxnSpPr>
          <p:nvPr/>
        </p:nvCxnSpPr>
        <p:spPr>
          <a:xfrm>
            <a:off x="4609047" y="3089471"/>
            <a:ext cx="70562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2DCE0E5F-2286-A146-9868-D84CCAE8E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1864083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6">
            <a:extLst>
              <a:ext uri="{FF2B5EF4-FFF2-40B4-BE49-F238E27FC236}">
                <a16:creationId xmlns:a16="http://schemas.microsoft.com/office/drawing/2014/main" id="{E758E2FC-BDB7-6A48-ABD6-EF907BA87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428637" y="2877603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4">
            <a:extLst>
              <a:ext uri="{FF2B5EF4-FFF2-40B4-BE49-F238E27FC236}">
                <a16:creationId xmlns:a16="http://schemas.microsoft.com/office/drawing/2014/main" id="{7859EED5-DB30-ED42-8939-0C9C85A793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428637" y="3674497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F301C7-D769-234E-ADA4-0403DE2439F9}"/>
              </a:ext>
            </a:extLst>
          </p:cNvPr>
          <p:cNvSpPr txBox="1"/>
          <p:nvPr/>
        </p:nvSpPr>
        <p:spPr>
          <a:xfrm>
            <a:off x="5314671" y="2526628"/>
            <a:ext cx="560822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nodes, colors)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z &gt;= color * x[node, color]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obj_is_maximum_tight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9E966C-4EAD-3344-B7A8-E8C5D6743C64}"/>
              </a:ext>
            </a:extLst>
          </p:cNvPr>
          <p:cNvSpPr txBox="1"/>
          <p:nvPr/>
        </p:nvSpPr>
        <p:spPr>
          <a:xfrm>
            <a:off x="2193464" y="4211116"/>
            <a:ext cx="742603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(node1, node2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)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edges, colors):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x[node1, color] + x[node2, color] &lt;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_neighbors_with_same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1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node2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A7AC8BC-52D4-BA48-8D22-A0DF470AECDD}"/>
              </a:ext>
            </a:extLst>
          </p:cNvPr>
          <p:cNvCxnSpPr>
            <a:cxnSpLocks/>
          </p:cNvCxnSpPr>
          <p:nvPr/>
        </p:nvCxnSpPr>
        <p:spPr>
          <a:xfrm>
            <a:off x="4609047" y="3089471"/>
            <a:ext cx="70562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4174B50B-3331-2E47-A2E6-7186353FE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2782900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6">
            <a:extLst>
              <a:ext uri="{FF2B5EF4-FFF2-40B4-BE49-F238E27FC236}">
                <a16:creationId xmlns:a16="http://schemas.microsoft.com/office/drawing/2014/main" id="{E758E2FC-BDB7-6A48-ABD6-EF907BA87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428637" y="2877603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4">
            <a:extLst>
              <a:ext uri="{FF2B5EF4-FFF2-40B4-BE49-F238E27FC236}">
                <a16:creationId xmlns:a16="http://schemas.microsoft.com/office/drawing/2014/main" id="{7859EED5-DB30-ED42-8939-0C9C85A793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428637" y="3674497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F301C7-D769-234E-ADA4-0403DE2439F9}"/>
              </a:ext>
            </a:extLst>
          </p:cNvPr>
          <p:cNvSpPr txBox="1"/>
          <p:nvPr/>
        </p:nvSpPr>
        <p:spPr>
          <a:xfrm>
            <a:off x="5314671" y="2526628"/>
            <a:ext cx="560822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nodes, colors)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z &gt;= color * x[node, color]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obj_is_maximum_tight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9E966C-4EAD-3344-B7A8-E8C5D6743C64}"/>
              </a:ext>
            </a:extLst>
          </p:cNvPr>
          <p:cNvSpPr txBox="1"/>
          <p:nvPr/>
        </p:nvSpPr>
        <p:spPr>
          <a:xfrm>
            <a:off x="2193464" y="4211116"/>
            <a:ext cx="742603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(node1, node2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)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edges, colors):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x[node1, color] + x[node2, color] &lt;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_neighbors_with_same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1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node2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A7AC8BC-52D4-BA48-8D22-A0DF470AECDD}"/>
              </a:ext>
            </a:extLst>
          </p:cNvPr>
          <p:cNvCxnSpPr>
            <a:cxnSpLocks/>
          </p:cNvCxnSpPr>
          <p:nvPr/>
        </p:nvCxnSpPr>
        <p:spPr>
          <a:xfrm>
            <a:off x="4609047" y="3089471"/>
            <a:ext cx="70562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A9BCF3A-D922-B449-A5DB-1CAB2097F724}"/>
              </a:ext>
            </a:extLst>
          </p:cNvPr>
          <p:cNvSpPr txBox="1"/>
          <p:nvPr/>
        </p:nvSpPr>
        <p:spPr>
          <a:xfrm>
            <a:off x="450679" y="5439041"/>
            <a:ext cx="1742785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. Call the sol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A384D9-BB3B-6343-85BC-568295ECED6D}"/>
              </a:ext>
            </a:extLst>
          </p:cNvPr>
          <p:cNvSpPr txBox="1"/>
          <p:nvPr/>
        </p:nvSpPr>
        <p:spPr>
          <a:xfrm>
            <a:off x="2266671" y="5439041"/>
            <a:ext cx="2794856" cy="343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solve</a:t>
            </a:r>
            <a:r>
              <a:rPr lang="en-CA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solver)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A273DE3-46F3-1C46-9813-1210769B3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5030010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6">
            <a:extLst>
              <a:ext uri="{FF2B5EF4-FFF2-40B4-BE49-F238E27FC236}">
                <a16:creationId xmlns:a16="http://schemas.microsoft.com/office/drawing/2014/main" id="{E758E2FC-BDB7-6A48-ABD6-EF907BA87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428637" y="2877603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4">
            <a:extLst>
              <a:ext uri="{FF2B5EF4-FFF2-40B4-BE49-F238E27FC236}">
                <a16:creationId xmlns:a16="http://schemas.microsoft.com/office/drawing/2014/main" id="{7859EED5-DB30-ED42-8939-0C9C85A793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428637" y="3674497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F301C7-D769-234E-ADA4-0403DE2439F9}"/>
              </a:ext>
            </a:extLst>
          </p:cNvPr>
          <p:cNvSpPr txBox="1"/>
          <p:nvPr/>
        </p:nvSpPr>
        <p:spPr>
          <a:xfrm>
            <a:off x="5314671" y="2526628"/>
            <a:ext cx="560822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nodes, colors)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z &gt;= color * x[node, color]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obj_is_maximum_tight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9E966C-4EAD-3344-B7A8-E8C5D6743C64}"/>
              </a:ext>
            </a:extLst>
          </p:cNvPr>
          <p:cNvSpPr txBox="1"/>
          <p:nvPr/>
        </p:nvSpPr>
        <p:spPr>
          <a:xfrm>
            <a:off x="2193464" y="4211116"/>
            <a:ext cx="742603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(node1, node2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)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edges, colors):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x[node1, color] + x[node2, color] &lt;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_neighbors_with_same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1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node2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A7AC8BC-52D4-BA48-8D22-A0DF470AECDD}"/>
              </a:ext>
            </a:extLst>
          </p:cNvPr>
          <p:cNvCxnSpPr>
            <a:cxnSpLocks/>
          </p:cNvCxnSpPr>
          <p:nvPr/>
        </p:nvCxnSpPr>
        <p:spPr>
          <a:xfrm>
            <a:off x="4609047" y="3089471"/>
            <a:ext cx="70562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F272198-CB09-EE4C-AF20-45E56024E08C}"/>
              </a:ext>
            </a:extLst>
          </p:cNvPr>
          <p:cNvSpPr txBox="1"/>
          <p:nvPr/>
        </p:nvSpPr>
        <p:spPr>
          <a:xfrm>
            <a:off x="7086362" y="5982011"/>
            <a:ext cx="2039341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5"/>
              </a:rPr>
              <a:t>Run in google colab</a:t>
            </a:r>
            <a:endParaRPr lang="en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E53DB39-484F-354F-BDC3-195FF26D98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5881" y="5933268"/>
            <a:ext cx="440978" cy="44097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A1C13AD8-8901-994C-9BFC-7CE2974AB402}"/>
              </a:ext>
            </a:extLst>
          </p:cNvPr>
          <p:cNvSpPr txBox="1"/>
          <p:nvPr/>
        </p:nvSpPr>
        <p:spPr>
          <a:xfrm>
            <a:off x="3620652" y="6002056"/>
            <a:ext cx="180530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7"/>
              </a:rPr>
              <a:t>Open the git repo</a:t>
            </a:r>
            <a:endParaRPr lang="en-US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18859BC-D693-2440-8D32-B214C8D4A2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9674" y="5973358"/>
            <a:ext cx="440978" cy="40088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9BCF3A-D922-B449-A5DB-1CAB2097F724}"/>
              </a:ext>
            </a:extLst>
          </p:cNvPr>
          <p:cNvSpPr txBox="1"/>
          <p:nvPr/>
        </p:nvSpPr>
        <p:spPr>
          <a:xfrm>
            <a:off x="450679" y="5439041"/>
            <a:ext cx="1742785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. Call the sol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A384D9-BB3B-6343-85BC-568295ECED6D}"/>
              </a:ext>
            </a:extLst>
          </p:cNvPr>
          <p:cNvSpPr txBox="1"/>
          <p:nvPr/>
        </p:nvSpPr>
        <p:spPr>
          <a:xfrm>
            <a:off x="2266671" y="5439041"/>
            <a:ext cx="2794856" cy="343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solve</a:t>
            </a:r>
            <a:r>
              <a:rPr lang="en-CA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solver)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CEF908F5-97F3-0D4A-9A0B-BBB88A8A1576}"/>
              </a:ext>
            </a:extLst>
          </p:cNvPr>
          <p:cNvSpPr txBox="1">
            <a:spLocks/>
          </p:cNvSpPr>
          <p:nvPr/>
        </p:nvSpPr>
        <p:spPr bwMode="gray">
          <a:xfrm>
            <a:off x="508993" y="289025"/>
            <a:ext cx="1044453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97946481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067" y="278865"/>
            <a:ext cx="11488993" cy="307777"/>
          </a:xfrm>
        </p:spPr>
        <p:txBody>
          <a:bodyPr/>
          <a:lstStyle/>
          <a:p>
            <a:r>
              <a:rPr lang="en-US" dirty="0"/>
              <a:t>Some Referenc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A1122B-4152-6A42-888F-0E5DC2DB0423}"/>
              </a:ext>
            </a:extLst>
          </p:cNvPr>
          <p:cNvSpPr txBox="1"/>
          <p:nvPr/>
        </p:nvSpPr>
        <p:spPr>
          <a:xfrm>
            <a:off x="4458991" y="4757255"/>
            <a:ext cx="141359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/>
              </a:rPr>
              <a:t>PuLP solver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CADA2A-ACB6-534A-B007-3485BEC0C9D1}"/>
              </a:ext>
            </a:extLst>
          </p:cNvPr>
          <p:cNvSpPr txBox="1"/>
          <p:nvPr/>
        </p:nvSpPr>
        <p:spPr>
          <a:xfrm>
            <a:off x="1006764" y="5178796"/>
            <a:ext cx="26965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Interpreting CBC solver log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BE0A31-6D92-064B-85A3-DF2529AF2296}"/>
              </a:ext>
            </a:extLst>
          </p:cNvPr>
          <p:cNvSpPr txBox="1"/>
          <p:nvPr/>
        </p:nvSpPr>
        <p:spPr>
          <a:xfrm>
            <a:off x="3729596" y="5178796"/>
            <a:ext cx="288572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4"/>
              </a:rPr>
              <a:t>Interpreting Gurobi solver log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09558F-7219-C545-9E74-7E536F08AD4F}"/>
              </a:ext>
            </a:extLst>
          </p:cNvPr>
          <p:cNvSpPr txBox="1"/>
          <p:nvPr/>
        </p:nvSpPr>
        <p:spPr>
          <a:xfrm>
            <a:off x="1006764" y="1302327"/>
            <a:ext cx="460895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5"/>
              </a:rPr>
              <a:t>Mixed interger linear programing video tutorials</a:t>
            </a:r>
            <a:r>
              <a:rPr lang="en-US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03667F-5EC9-8F41-8FBD-80C58071BA81}"/>
              </a:ext>
            </a:extLst>
          </p:cNvPr>
          <p:cNvSpPr txBox="1"/>
          <p:nvPr/>
        </p:nvSpPr>
        <p:spPr>
          <a:xfrm>
            <a:off x="1006764" y="1801438"/>
            <a:ext cx="629050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6"/>
              </a:rPr>
              <a:t>Discrete optimization course (Coursera) by Melbourne University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7D64CA-1951-2542-9A9D-99821A0D58C7}"/>
              </a:ext>
            </a:extLst>
          </p:cNvPr>
          <p:cNvSpPr txBox="1"/>
          <p:nvPr/>
        </p:nvSpPr>
        <p:spPr>
          <a:xfrm>
            <a:off x="3039631" y="4757255"/>
            <a:ext cx="137993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7"/>
              </a:rPr>
              <a:t>PuLP project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AF1F9-54AB-9D48-BA26-6607522FE3D5}"/>
              </a:ext>
            </a:extLst>
          </p:cNvPr>
          <p:cNvSpPr txBox="1"/>
          <p:nvPr/>
        </p:nvSpPr>
        <p:spPr>
          <a:xfrm>
            <a:off x="1006764" y="2983035"/>
            <a:ext cx="690445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8"/>
              </a:rPr>
              <a:t>Model Building in Mathematical Programming 5th Edition (Paul Williams)</a:t>
            </a:r>
            <a:endParaRPr lang="en-US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5A205128-794B-FB45-BB7A-F56DAAEAB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218" y="2464778"/>
            <a:ext cx="953441" cy="1428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55681AF-4A97-F94D-9585-35BF2227E35F}"/>
              </a:ext>
            </a:extLst>
          </p:cNvPr>
          <p:cNvSpPr txBox="1"/>
          <p:nvPr/>
        </p:nvSpPr>
        <p:spPr>
          <a:xfrm>
            <a:off x="1006764" y="4760286"/>
            <a:ext cx="2056973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10"/>
              </a:rPr>
              <a:t>COIN-OR Wikipedia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2EF1587-A0F1-8648-808D-9A63242A5EF5}"/>
              </a:ext>
            </a:extLst>
          </p:cNvPr>
          <p:cNvSpPr txBox="1"/>
          <p:nvPr/>
        </p:nvSpPr>
        <p:spPr>
          <a:xfrm>
            <a:off x="998910" y="5618280"/>
            <a:ext cx="266451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11"/>
              </a:rPr>
              <a:t>SOLID principles in pytho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C90F02-BAD6-C849-8AD9-2F20DFAE0C45}"/>
              </a:ext>
            </a:extLst>
          </p:cNvPr>
          <p:cNvSpPr txBox="1"/>
          <p:nvPr/>
        </p:nvSpPr>
        <p:spPr>
          <a:xfrm>
            <a:off x="996604" y="3550016"/>
            <a:ext cx="5235408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12"/>
              </a:rPr>
              <a:t>Integer Programming - Volume 271 - (Michele conforti)</a:t>
            </a:r>
            <a:endParaRPr 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7731E116-B852-0A49-A7B7-42D6C0889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496" y="3326527"/>
            <a:ext cx="953441" cy="1391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762BC23-2A89-1342-A04C-EFC6AC1F77B7}"/>
              </a:ext>
            </a:extLst>
          </p:cNvPr>
          <p:cNvSpPr txBox="1"/>
          <p:nvPr/>
        </p:nvSpPr>
        <p:spPr>
          <a:xfrm>
            <a:off x="1006764" y="896228"/>
            <a:ext cx="222176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urses and Tutoria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3D560A-F1F3-8B41-9B42-6849E0DB7D02}"/>
              </a:ext>
            </a:extLst>
          </p:cNvPr>
          <p:cNvSpPr txBox="1"/>
          <p:nvPr/>
        </p:nvSpPr>
        <p:spPr>
          <a:xfrm>
            <a:off x="978504" y="2481725"/>
            <a:ext cx="180530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earning Mater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4D0613-1E68-804E-BC25-00992332224F}"/>
              </a:ext>
            </a:extLst>
          </p:cNvPr>
          <p:cNvSpPr txBox="1"/>
          <p:nvPr/>
        </p:nvSpPr>
        <p:spPr>
          <a:xfrm>
            <a:off x="1006764" y="4315049"/>
            <a:ext cx="132440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seful Link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7B8E62-4F25-6C46-B740-0F401EEBF2C2}"/>
              </a:ext>
            </a:extLst>
          </p:cNvPr>
          <p:cNvSpPr txBox="1"/>
          <p:nvPr/>
        </p:nvSpPr>
        <p:spPr>
          <a:xfrm>
            <a:off x="8177521" y="5961772"/>
            <a:ext cx="301556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14"/>
              </a:rPr>
              <a:t>linkedin.com/in/juan-d-chacon/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EF1DB21-C218-3646-8259-FE09A3A736C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437655" y="5441072"/>
            <a:ext cx="495300" cy="52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1659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2" name="Picture 12">
            <a:extLst>
              <a:ext uri="{FF2B5EF4-FFF2-40B4-BE49-F238E27FC236}">
                <a16:creationId xmlns:a16="http://schemas.microsoft.com/office/drawing/2014/main" id="{E301621C-2F57-FE4D-AA24-1F8BB8EDF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185" y="1394580"/>
            <a:ext cx="3896360" cy="478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66CBDCD-DBC9-EB40-A152-2C96EF69E76A}"/>
              </a:ext>
            </a:extLst>
          </p:cNvPr>
          <p:cNvSpPr txBox="1">
            <a:spLocks/>
          </p:cNvSpPr>
          <p:nvPr/>
        </p:nvSpPr>
        <p:spPr bwMode="gray">
          <a:xfrm>
            <a:off x="499568" y="278498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2309161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0246" name="Picture 6">
            <a:extLst>
              <a:ext uri="{FF2B5EF4-FFF2-40B4-BE49-F238E27FC236}">
                <a16:creationId xmlns:a16="http://schemas.microsoft.com/office/drawing/2014/main" id="{C45D1EC3-66BA-3648-8721-35C5E2EBD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722" y="1394580"/>
            <a:ext cx="3912870" cy="477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>
            <a:extLst>
              <a:ext uri="{FF2B5EF4-FFF2-40B4-BE49-F238E27FC236}">
                <a16:creationId xmlns:a16="http://schemas.microsoft.com/office/drawing/2014/main" id="{4B65CD9E-7F48-BC4F-A85E-616E4DDEB8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844" y="2001756"/>
            <a:ext cx="2129790" cy="1172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C2EF31D-3F9D-674A-9072-BC153E2B2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14693890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7C48CD65-3D15-7F47-88FC-CA0E533114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395" y="1386958"/>
            <a:ext cx="3912870" cy="477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>
            <a:extLst>
              <a:ext uri="{FF2B5EF4-FFF2-40B4-BE49-F238E27FC236}">
                <a16:creationId xmlns:a16="http://schemas.microsoft.com/office/drawing/2014/main" id="{363DF8BE-6541-D44B-959F-B803B3618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878" y="2002697"/>
            <a:ext cx="3797300" cy="2129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F7B1520-DF2C-2542-AFE0-3F1AEB8D6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10283628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7AF502DC-7347-D74D-A9D1-2E5708387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1346" y="1390463"/>
            <a:ext cx="3912870" cy="477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>
            <a:extLst>
              <a:ext uri="{FF2B5EF4-FFF2-40B4-BE49-F238E27FC236}">
                <a16:creationId xmlns:a16="http://schemas.microsoft.com/office/drawing/2014/main" id="{3D5AA184-4121-9445-8209-867DD3F0B2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9453" y="1998626"/>
            <a:ext cx="3797300" cy="2195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905C689-2479-F84B-867A-29BF72F31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4010638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E17E2193-7BBB-AA4F-901C-AE699BCDBC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863" y="1829541"/>
            <a:ext cx="4507230" cy="457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>
            <a:extLst>
              <a:ext uri="{FF2B5EF4-FFF2-40B4-BE49-F238E27FC236}">
                <a16:creationId xmlns:a16="http://schemas.microsoft.com/office/drawing/2014/main" id="{0AF0D526-D1F3-384D-9BC1-3AEB111D7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340" y="1998626"/>
            <a:ext cx="3797300" cy="2459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2844225-44AB-4E45-80D2-D705BEF9C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1385605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E262AA57-12C2-6C43-B7B9-C64D58463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470" y="1728120"/>
            <a:ext cx="4507230" cy="467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>
            <a:extLst>
              <a:ext uri="{FF2B5EF4-FFF2-40B4-BE49-F238E27FC236}">
                <a16:creationId xmlns:a16="http://schemas.microsoft.com/office/drawing/2014/main" id="{A438A054-39CF-7541-94A6-8E840D00A1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655" y="2001572"/>
            <a:ext cx="4622800" cy="305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E556AC7-7855-2A49-827B-09750FFB1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2035910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ACCENT" val="4"/>
  <p:tag name="LINE" val="2"/>
  <p:tag name="ISNEWSLIDENUMBER" val="False"/>
  <p:tag name="NEWNAMES4" val="True"/>
  <p:tag name="NEWNAMES" val="True"/>
  <p:tag name="PREVIOUSNAME" val="C:\Users\Joanna Zacharek\Box Sync\2015 02 VGM Automation Program\VGM tools development\Tools in Progress\Template Design\Base templates\October version\EN_BASEFORM_13.33x7.5_FF1.potx"/>
  <p:tag name="TEMPLATECREATED" val="2019-08-11 11:52 AM"/>
  <p:tag name="TEMPLATELASTEDITED" val="2020-03-01 09:57 AM"/>
  <p:tag name="THINKCELLPRESENTATIONDONOTDELETE" val="&lt;?xml version=&quot;1.0&quot; encoding=&quot;UTF-16&quot; standalone=&quot;yes&quot;?&gt;&lt;root reqver=&quot;25060&quot;&gt;&lt;version val=&quot;283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5&quot;&gt;&lt;elem m_fUsage=&quot;9.11370618803475096570E+00&quot;&gt;&lt;m_msothmcolidx val=&quot;0&quot;/&gt;&lt;m_rgb r=&quot;C5&quot; g=&quot;C1&quot; b=&quot;C0&quot;/&gt;&lt;m_nBrightness endver=&quot;26206&quot; val=&quot;0&quot;/&gt;&lt;/elem&gt;&lt;elem m_fUsage=&quot;2.03891005148793991175E-01&quot;&gt;&lt;m_msothmcolidx val=&quot;0&quot;/&gt;&lt;m_rgb r=&quot;66&quot; g=&quot;66&quot; b=&quot;66&quot;/&gt;&lt;m_nBrightness endver=&quot;26206&quot; val=&quot;0&quot;/&gt;&lt;/elem&gt;&lt;elem m_fUsage=&quot;8.86293811965250810658E-02&quot;&gt;&lt;m_msothmcolidx val=&quot;0&quot;/&gt;&lt;m_rgb r=&quot;F2&quot; g=&quot;7F&quot; b=&quot;00&quot;/&gt;&lt;m_nBrightness endver=&quot;26206&quot; val=&quot;0&quot;/&gt;&lt;/elem&gt;&lt;elem m_fUsage=&quot;6.46108188922667886489E-02&quot;&gt;&lt;m_msothmcolidx val=&quot;0&quot;/&gt;&lt;m_rgb r=&quot;CD&quot; g=&quot;20&quot; b=&quot;2C&quot;/&gt;&lt;m_nBrightness endver=&quot;26206&quot; val=&quot;0&quot;/&gt;&lt;/elem&gt;&lt;elem m_fUsage=&quot;5.81497370030401097840E-02&quot;&gt;&lt;m_msothmcolidx val=&quot;0&quot;/&gt;&lt;m_rgb r=&quot;A3&quot; g=&quot;B3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HYNNUz8W7tacxirs5b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tL7KX9nZs3xmrmm53j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CY0369_CF">
  <a:themeElements>
    <a:clrScheme name="Custom">
      <a:dk1>
        <a:srgbClr val="000000"/>
      </a:dk1>
      <a:lt1>
        <a:srgbClr val="FFFFFF"/>
      </a:lt1>
      <a:dk2>
        <a:srgbClr val="000F7B"/>
      </a:dk2>
      <a:lt2>
        <a:srgbClr val="FFFFFF"/>
      </a:lt2>
      <a:accent1>
        <a:srgbClr val="8ED6F6"/>
      </a:accent1>
      <a:accent2>
        <a:srgbClr val="37A0FF"/>
      </a:accent2>
      <a:accent3>
        <a:srgbClr val="0065BD"/>
      </a:accent3>
      <a:accent4>
        <a:srgbClr val="000F7B"/>
      </a:accent4>
      <a:accent5>
        <a:srgbClr val="377283"/>
      </a:accent5>
      <a:accent6>
        <a:srgbClr val="808080"/>
      </a:accent6>
      <a:hlink>
        <a:srgbClr val="0065BD"/>
      </a:hlink>
      <a:folHlink>
        <a:srgbClr val="000F7B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bg1"/>
          </a:solidFill>
        </a:ln>
      </a:spPr>
      <a:bodyPr rtlCol="0" anchor="ctr"/>
      <a:lstStyle>
        <a:defPPr algn="ctr">
          <a:defRPr sz="14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F7B"/>
        </a:dk2>
        <a:lt2>
          <a:srgbClr val="FFFFFF"/>
        </a:lt2>
        <a:accent1>
          <a:srgbClr val="8ED6F6"/>
        </a:accent1>
        <a:accent2>
          <a:srgbClr val="37A0FF"/>
        </a:accent2>
        <a:accent3>
          <a:srgbClr val="0065BD"/>
        </a:accent3>
        <a:accent4>
          <a:srgbClr val="000F7B"/>
        </a:accent4>
        <a:accent5>
          <a:srgbClr val="377283"/>
        </a:accent5>
        <a:accent6>
          <a:srgbClr val="808080"/>
        </a:accent6>
        <a:hlink>
          <a:srgbClr val="0065BD"/>
        </a:hlink>
        <a:folHlink>
          <a:srgbClr val="000F7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VA0128_CF.potx" id="{B73F7A4E-7BD9-436C-A5DE-8D2ADF315C97}" vid="{A853C2EE-1E93-4B60-AF8C-FB78BF82469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A0128_CF</Template>
  <TotalTime>0</TotalTime>
  <Words>1951</Words>
  <Application>Microsoft Macintosh PowerPoint</Application>
  <PresentationFormat>Widescreen</PresentationFormat>
  <Paragraphs>286</Paragraphs>
  <Slides>3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4" baseType="lpstr">
      <vt:lpstr>Arial</vt:lpstr>
      <vt:lpstr>Cambria Math</vt:lpstr>
      <vt:lpstr>Courier New</vt:lpstr>
      <vt:lpstr>CY0369_CF</vt:lpstr>
      <vt:lpstr>think-cell Slide</vt:lpstr>
      <vt:lpstr>PowerPoint Presentation</vt:lpstr>
      <vt:lpstr>Today's Journey</vt:lpstr>
      <vt:lpstr>The Branch and Bound Algorithm</vt:lpstr>
      <vt:lpstr>PowerPoint Presentation</vt:lpstr>
      <vt:lpstr>The Branch and Bound Algorithm</vt:lpstr>
      <vt:lpstr>The Branch and Bound Algorithm</vt:lpstr>
      <vt:lpstr>The Branch and Bound Algorithm</vt:lpstr>
      <vt:lpstr>The Branch and Bound Algorithm</vt:lpstr>
      <vt:lpstr>The Branch and Bound Algorithm</vt:lpstr>
      <vt:lpstr>The Branch and Bound Algorithm</vt:lpstr>
      <vt:lpstr>A Tighter Formulation</vt:lpstr>
      <vt:lpstr>Mathematical Programming &amp; Software Development</vt:lpstr>
      <vt:lpstr>Mathematical Programming &amp; Software Development</vt:lpstr>
      <vt:lpstr>Mathematical Programming &amp; Software Development</vt:lpstr>
      <vt:lpstr>Graph Coloring Problem</vt:lpstr>
      <vt:lpstr>Graph Coloring Probl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PowerPoint Presentation</vt:lpstr>
      <vt:lpstr>Some Referenc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20-04-25T20:16:52Z</dcterms:created>
  <dcterms:modified xsi:type="dcterms:W3CDTF">2021-12-09T20:11:10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1 11:52 AM</vt:lpwstr>
  </property>
  <property fmtid="{D5CDD505-2E9C-101B-9397-08002B2CF9AE}" pid="3" name="TemplateLastEdited">
    <vt:lpwstr>2020-03-01 09:57 AM</vt:lpwstr>
  </property>
</Properties>
</file>